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98" r:id="rId3"/>
  </p:sldMasterIdLst>
  <p:notesMasterIdLst>
    <p:notesMasterId r:id="rId40"/>
  </p:notesMasterIdLst>
  <p:handoutMasterIdLst>
    <p:handoutMasterId r:id="rId41"/>
  </p:handoutMasterIdLst>
  <p:sldIdLst>
    <p:sldId id="260" r:id="rId4"/>
    <p:sldId id="259" r:id="rId5"/>
    <p:sldId id="257" r:id="rId6"/>
    <p:sldId id="265" r:id="rId7"/>
    <p:sldId id="264" r:id="rId8"/>
    <p:sldId id="266" r:id="rId9"/>
    <p:sldId id="267" r:id="rId10"/>
    <p:sldId id="269" r:id="rId11"/>
    <p:sldId id="279" r:id="rId12"/>
    <p:sldId id="274" r:id="rId13"/>
    <p:sldId id="280" r:id="rId14"/>
    <p:sldId id="276" r:id="rId15"/>
    <p:sldId id="277" r:id="rId16"/>
    <p:sldId id="281" r:id="rId17"/>
    <p:sldId id="278" r:id="rId18"/>
    <p:sldId id="282" r:id="rId19"/>
    <p:sldId id="284" r:id="rId20"/>
    <p:sldId id="285" r:id="rId21"/>
    <p:sldId id="288" r:id="rId22"/>
    <p:sldId id="268" r:id="rId23"/>
    <p:sldId id="306" r:id="rId24"/>
    <p:sldId id="289" r:id="rId25"/>
    <p:sldId id="290" r:id="rId26"/>
    <p:sldId id="291" r:id="rId27"/>
    <p:sldId id="292" r:id="rId28"/>
    <p:sldId id="293" r:id="rId29"/>
    <p:sldId id="294" r:id="rId30"/>
    <p:sldId id="296" r:id="rId31"/>
    <p:sldId id="297" r:id="rId32"/>
    <p:sldId id="298" r:id="rId33"/>
    <p:sldId id="299" r:id="rId34"/>
    <p:sldId id="300" r:id="rId35"/>
    <p:sldId id="301" r:id="rId36"/>
    <p:sldId id="303" r:id="rId37"/>
    <p:sldId id="304" r:id="rId38"/>
    <p:sldId id="305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B183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94660"/>
  </p:normalViewPr>
  <p:slideViewPr>
    <p:cSldViewPr snapToGrid="0">
      <p:cViewPr varScale="1">
        <p:scale>
          <a:sx n="83" d="100"/>
          <a:sy n="83" d="100"/>
        </p:scale>
        <p:origin x="69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A67678-D96D-4FA4-ABB5-78A5D2EE565C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B05B13D-4FD5-478C-8397-278E05A8B3A4}">
      <dgm:prSet phldrT="[Text]" custT="1"/>
      <dgm:spPr>
        <a:xfrm>
          <a:off x="5223040" y="90600"/>
          <a:ext cx="3128153" cy="1462595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lIns="91440" tIns="91440"/>
        <a:lstStyle/>
        <a:p>
          <a:pPr algn="ctr"/>
          <a:r>
            <a:rPr lang="en-US" sz="1400" b="1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FCW</a:t>
          </a:r>
          <a:endParaRPr lang="en-US" sz="1400" b="1" dirty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algn="l"/>
          <a:r>
            <a:rPr lang="en-US" sz="14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Composite sequence root node</a:t>
          </a:r>
        </a:p>
        <a:p>
          <a:pPr algn="l"/>
          <a:r>
            <a:rPr lang="en-US" sz="14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Contains all the children behaviors required to perform a </a:t>
          </a:r>
          <a:r>
            <a:rPr lang="en-US" sz="14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FCW </a:t>
          </a:r>
          <a:r>
            <a:rPr lang="en-US" sz="14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scenario</a:t>
          </a:r>
        </a:p>
      </dgm:t>
    </dgm:pt>
    <dgm:pt modelId="{62473CAD-B112-4F9A-8BA5-B2DF01F0DC54}" type="parTrans" cxnId="{8A926327-4488-4B5A-9E08-9DD14C4B8DA0}">
      <dgm:prSet/>
      <dgm:spPr/>
      <dgm:t>
        <a:bodyPr/>
        <a:lstStyle/>
        <a:p>
          <a:endParaRPr lang="en-US" sz="2000"/>
        </a:p>
      </dgm:t>
    </dgm:pt>
    <dgm:pt modelId="{DA72A292-EAB1-4485-81D0-01D1A4CA5633}" type="sibTrans" cxnId="{8A926327-4488-4B5A-9E08-9DD14C4B8DA0}">
      <dgm:prSet custT="1"/>
      <dgm:spPr>
        <a:xfrm>
          <a:off x="5523961" y="1444711"/>
          <a:ext cx="18788" cy="18779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0E726395-197B-48A1-A35C-21C1591EBDD4}">
      <dgm:prSet phldrT="[Text]" custT="1"/>
      <dgm:spPr>
        <a:xfrm>
          <a:off x="1867260" y="2235739"/>
          <a:ext cx="2824875" cy="1462595"/>
        </a:xfrm>
        <a:prstGeom prst="parallelogram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91440"/>
        <a:lstStyle/>
        <a:p>
          <a:pPr algn="ctr"/>
          <a:r>
            <a:rPr lang="en-US" sz="1200" b="1" dirty="0" err="1">
              <a:solidFill>
                <a:srgbClr val="FFFFFF"/>
              </a:solidFill>
              <a:latin typeface="Porsche Next TT"/>
              <a:ea typeface="+mn-ea"/>
              <a:cs typeface="+mn-cs"/>
            </a:rPr>
            <a:t>JustDrive</a:t>
          </a:r>
          <a:endParaRPr lang="en-US" sz="1200" b="1" dirty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algn="l"/>
          <a:r>
            <a:rPr lang="en-US" sz="12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Composite parallel </a:t>
          </a:r>
          <a:r>
            <a:rPr lang="en-US" sz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node</a:t>
          </a:r>
        </a:p>
        <a:p>
          <a:pPr algn="l"/>
          <a:r>
            <a:rPr lang="en-US" sz="120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UCCESS_ON_ONE</a:t>
          </a:r>
          <a:endParaRPr lang="en-US" sz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algn="l"/>
          <a:r>
            <a:rPr lang="en-US" sz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rives the target vehicle at a defined speed</a:t>
          </a:r>
          <a:endParaRPr lang="en-US" sz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DBF1D4F2-5C65-4C86-AADD-060D2B9F0056}" type="parTrans" cxnId="{02A314A4-2D95-4E9E-ABBD-54AF1890E187}">
      <dgm:prSet/>
      <dgm:spPr>
        <a:xfrm>
          <a:off x="3279697" y="1553195"/>
          <a:ext cx="3507419" cy="682544"/>
        </a:xfrm>
        <a:custGeom>
          <a:avLst/>
          <a:gdLst/>
          <a:ahLst/>
          <a:cxnLst/>
          <a:rect l="0" t="0" r="0" b="0"/>
          <a:pathLst>
            <a:path>
              <a:moveTo>
                <a:pt x="3507419" y="0"/>
              </a:moveTo>
              <a:lnTo>
                <a:pt x="3507419" y="341272"/>
              </a:lnTo>
              <a:lnTo>
                <a:pt x="0" y="341272"/>
              </a:lnTo>
              <a:lnTo>
                <a:pt x="0" y="68254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AC164A7B-ECC3-4576-A254-0D6EB2558868}" type="sibTrans" cxnId="{02A314A4-2D95-4E9E-ABBD-54AF1890E187}">
      <dgm:prSet custT="1"/>
      <dgm:spPr>
        <a:xfrm>
          <a:off x="3695051" y="3608704"/>
          <a:ext cx="16754" cy="1675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65A9B2C3-ED14-4F11-AD33-EA0D8EA1621B}">
      <dgm:prSet phldrT="[Text]" custT="1"/>
      <dgm:spPr>
        <a:xfrm>
          <a:off x="5374679" y="2235140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91440"/>
        <a:lstStyle/>
        <a:p>
          <a:pPr algn="ctr"/>
          <a:r>
            <a:rPr lang="en-US" sz="14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opVehicle</a:t>
          </a:r>
          <a:endParaRPr lang="en-US" sz="1400" b="1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l"/>
          <a:r>
            <a:rPr lang="en-US" sz="14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14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max_brake</a:t>
          </a:r>
          <a:endParaRPr lang="en-US" sz="14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l"/>
          <a:r>
            <a:rPr lang="en-US" sz="14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</a:t>
          </a:r>
          <a:r>
            <a:rPr lang="en-US" sz="140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 the actor stopped moving</a:t>
          </a:r>
          <a:endParaRPr lang="en-US" sz="14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75969326-2BEC-4BB0-8EF2-40DEFD6FCE01}" type="parTrans" cxnId="{62B9ECA0-9A24-4E35-88D1-14EF43593CAA}">
      <dgm:prSet/>
      <dgm:spPr>
        <a:xfrm>
          <a:off x="6741397" y="1553195"/>
          <a:ext cx="91440" cy="6819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8194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F9272A94-E943-4C86-945F-9E7D0AF6D63B}" type="sibTrans" cxnId="{62B9ECA0-9A24-4E35-88D1-14EF43593CAA}">
      <dgm:prSet custT="1"/>
      <dgm:spPr>
        <a:xfrm>
          <a:off x="7202687" y="3608920"/>
          <a:ext cx="16322" cy="16317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E33DEFC3-FC53-411A-BA1E-29077477779D}">
      <dgm:prSet phldrT="[Text]" custT="1"/>
      <dgm:spPr>
        <a:xfrm>
          <a:off x="8882099" y="2235739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91440"/>
        <a:lstStyle/>
        <a:p>
          <a:pPr algn="ctr"/>
          <a:r>
            <a:rPr lang="en-US" sz="14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andStill</a:t>
          </a:r>
          <a:endParaRPr lang="en-US" sz="1400" b="1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l"/>
          <a:r>
            <a:rPr lang="en-US" sz="14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</a:t>
          </a:r>
          <a:r>
            <a:rPr lang="en-US" sz="14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ego vehicle, duration</a:t>
          </a:r>
        </a:p>
        <a:p>
          <a:pPr algn="l"/>
          <a:r>
            <a:rPr lang="en-US" sz="14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the vehicle </a:t>
          </a:r>
          <a:r>
            <a:rPr lang="en-US" sz="140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oes not move</a:t>
          </a:r>
          <a:endParaRPr lang="en-US" sz="14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B452E287-B325-49D3-B723-77459128976B}" type="parTrans" cxnId="{3163A3F7-EEDB-474D-8092-6354E832120C}">
      <dgm:prSet/>
      <dgm:spPr>
        <a:xfrm>
          <a:off x="6787117" y="1553195"/>
          <a:ext cx="3507419" cy="6825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1272"/>
              </a:lnTo>
              <a:lnTo>
                <a:pt x="3507419" y="341272"/>
              </a:lnTo>
              <a:lnTo>
                <a:pt x="3507419" y="68254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195F0342-D3DA-416A-B22B-A041EC16A2BC}" type="sibTrans" cxnId="{3163A3F7-EEDB-474D-8092-6354E832120C}">
      <dgm:prSet custT="1"/>
      <dgm:spPr>
        <a:xfrm>
          <a:off x="10710247" y="3609055"/>
          <a:ext cx="16042" cy="16049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D0501EE9-93F7-48A0-82EC-D0C2559D71B9}">
      <dgm:prSet custT="1"/>
      <dgm:spPr>
        <a:xfrm>
          <a:off x="3622862" y="4372703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182880"/>
        <a:lstStyle/>
        <a:p>
          <a:pPr algn="ctr"/>
          <a:r>
            <a:rPr lang="en-US" sz="1400" b="1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TriggerDistanceToVehicle</a:t>
          </a:r>
          <a:endParaRPr lang="en-US" sz="1400" b="1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l"/>
          <a:r>
            <a:rPr lang="en-US" sz="14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14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ego vehicle, </a:t>
          </a:r>
          <a:r>
            <a:rPr lang="en-US" sz="1400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1400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l"/>
          <a:r>
            <a:rPr lang="en-US" sz="14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</a:t>
          </a:r>
          <a:r>
            <a:rPr lang="en-US" sz="14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relative distance &lt; </a:t>
          </a:r>
          <a:r>
            <a:rPr lang="en-US" sz="1400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14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556F4279-4E5B-4B16-B3B8-92C59A3C2A22}" type="parTrans" cxnId="{29558FE3-291C-466D-8DAA-399BF8F0EAB5}">
      <dgm:prSet/>
      <dgm:spPr>
        <a:xfrm>
          <a:off x="3279697" y="3698335"/>
          <a:ext cx="1755602" cy="6743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3096"/>
              </a:lnTo>
              <a:lnTo>
                <a:pt x="1755602" y="333096"/>
              </a:lnTo>
              <a:lnTo>
                <a:pt x="1755602" y="674368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220C4C5E-6846-4CBC-A9E3-E7EBDA8936CF}" type="sibTrans" cxnId="{29558FE3-291C-466D-8DAA-399BF8F0EAB5}">
      <dgm:prSet custT="1"/>
      <dgm:spPr>
        <a:xfrm>
          <a:off x="5448901" y="5753984"/>
          <a:ext cx="16474" cy="16468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BE093903-DDA2-4A30-8F36-4515467E730B}">
      <dgm:prSet custT="1"/>
      <dgm:spPr>
        <a:xfrm>
          <a:off x="126770" y="4366619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en-US" sz="1400" b="1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Waypointfollower</a:t>
          </a:r>
          <a:endParaRPr lang="en-US" sz="1400" b="1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l"/>
          <a:r>
            <a:rPr lang="en-US" sz="14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locity1</a:t>
          </a:r>
        </a:p>
        <a:p>
          <a:pPr algn="l"/>
          <a:r>
            <a:rPr lang="en-US" sz="14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1 at velocity1 along the road</a:t>
          </a:r>
          <a:endParaRPr lang="en-US" sz="14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04B687DE-26E9-4D8C-88DA-A0328511E504}" type="sibTrans" cxnId="{57214E58-78C0-468A-AFDC-DD82011FA6BA}">
      <dgm:prSet custT="1"/>
      <dgm:spPr>
        <a:xfrm>
          <a:off x="1941405" y="5753909"/>
          <a:ext cx="16627" cy="16619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B930FA56-DDD5-4DB9-936F-9A487715D881}" type="parTrans" cxnId="{57214E58-78C0-468A-AFDC-DD82011FA6BA}">
      <dgm:prSet/>
      <dgm:spPr>
        <a:xfrm>
          <a:off x="1539208" y="3698335"/>
          <a:ext cx="1740489" cy="668284"/>
        </a:xfrm>
        <a:custGeom>
          <a:avLst/>
          <a:gdLst/>
          <a:ahLst/>
          <a:cxnLst/>
          <a:rect l="0" t="0" r="0" b="0"/>
          <a:pathLst>
            <a:path>
              <a:moveTo>
                <a:pt x="1740489" y="0"/>
              </a:moveTo>
              <a:lnTo>
                <a:pt x="1740489" y="327011"/>
              </a:lnTo>
              <a:lnTo>
                <a:pt x="0" y="327011"/>
              </a:lnTo>
              <a:lnTo>
                <a:pt x="0" y="668284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845E6649-DB73-4C3B-A81F-DCD945F5C92F}" type="pres">
      <dgm:prSet presAssocID="{F4A67678-D96D-4FA4-ABB5-78A5D2EE565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EFBEEAA-F5F3-4095-8F4A-8163865279F8}" type="pres">
      <dgm:prSet presAssocID="{8B05B13D-4FD5-478C-8397-278E05A8B3A4}" presName="hierRoot1" presStyleCnt="0">
        <dgm:presLayoutVars>
          <dgm:hierBranch val="init"/>
        </dgm:presLayoutVars>
      </dgm:prSet>
      <dgm:spPr/>
    </dgm:pt>
    <dgm:pt modelId="{32E03310-8D03-475D-AD06-0E715F35FCF7}" type="pres">
      <dgm:prSet presAssocID="{8B05B13D-4FD5-478C-8397-278E05A8B3A4}" presName="rootComposite1" presStyleCnt="0"/>
      <dgm:spPr/>
    </dgm:pt>
    <dgm:pt modelId="{34CFB2D3-86FD-4120-B3DD-8F35B1C582AF}" type="pres">
      <dgm:prSet presAssocID="{8B05B13D-4FD5-478C-8397-278E05A8B3A4}" presName="rootText1" presStyleLbl="node0" presStyleIdx="0" presStyleCnt="1" custScaleX="110736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74E3AC88-DD94-4480-87AE-C92D37D2DD55}" type="pres">
      <dgm:prSet presAssocID="{8B05B13D-4FD5-478C-8397-278E05A8B3A4}" presName="titleText1" presStyleLbl="fgAcc0" presStyleIdx="0" presStyleCnt="1" custScaleX="739" custScaleY="3852" custLinFactNeighborX="-65981" custLinFactNeighborY="-3659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4B5C61F-5036-456C-A892-8863C0FF7F21}" type="pres">
      <dgm:prSet presAssocID="{8B05B13D-4FD5-478C-8397-278E05A8B3A4}" presName="rootConnector1" presStyleLbl="node1" presStyleIdx="0" presStyleCnt="5"/>
      <dgm:spPr/>
      <dgm:t>
        <a:bodyPr/>
        <a:lstStyle/>
        <a:p>
          <a:endParaRPr lang="en-US"/>
        </a:p>
      </dgm:t>
    </dgm:pt>
    <dgm:pt modelId="{12FF31B3-25B8-4ADC-A489-25E8DBE717CC}" type="pres">
      <dgm:prSet presAssocID="{8B05B13D-4FD5-478C-8397-278E05A8B3A4}" presName="hierChild2" presStyleCnt="0"/>
      <dgm:spPr/>
    </dgm:pt>
    <dgm:pt modelId="{87D669C7-970D-45AA-B46C-09FE715E5B0B}" type="pres">
      <dgm:prSet presAssocID="{DBF1D4F2-5C65-4C86-AADD-060D2B9F0056}" presName="Name37" presStyleLbl="parChTrans1D2" presStyleIdx="0" presStyleCnt="3"/>
      <dgm:spPr/>
      <dgm:t>
        <a:bodyPr/>
        <a:lstStyle/>
        <a:p>
          <a:endParaRPr lang="en-US"/>
        </a:p>
      </dgm:t>
    </dgm:pt>
    <dgm:pt modelId="{A4542736-D2F7-4122-9F09-10505CA4DAF7}" type="pres">
      <dgm:prSet presAssocID="{0E726395-197B-48A1-A35C-21C1591EBDD4}" presName="hierRoot2" presStyleCnt="0">
        <dgm:presLayoutVars>
          <dgm:hierBranch val="init"/>
        </dgm:presLayoutVars>
      </dgm:prSet>
      <dgm:spPr/>
    </dgm:pt>
    <dgm:pt modelId="{3D0FABB7-B904-488E-8F4D-E14A1E2AE9EE}" type="pres">
      <dgm:prSet presAssocID="{0E726395-197B-48A1-A35C-21C1591EBDD4}" presName="rootComposite" presStyleCnt="0"/>
      <dgm:spPr/>
    </dgm:pt>
    <dgm:pt modelId="{8EE35D8B-BEB4-45A9-B5AF-E76DC893500D}" type="pres">
      <dgm:prSet presAssocID="{0E726395-197B-48A1-A35C-21C1591EBDD4}" presName="rootText" presStyleLbl="node1" presStyleIdx="0" presStyleCnt="5">
        <dgm:presLayoutVars>
          <dgm:chMax/>
          <dgm:chPref val="3"/>
        </dgm:presLayoutVars>
      </dgm:prSet>
      <dgm:spPr>
        <a:prstGeom prst="parallelogram">
          <a:avLst/>
        </a:prstGeom>
      </dgm:spPr>
      <dgm:t>
        <a:bodyPr/>
        <a:lstStyle/>
        <a:p>
          <a:endParaRPr lang="en-US"/>
        </a:p>
      </dgm:t>
    </dgm:pt>
    <dgm:pt modelId="{20B44729-766A-48D7-87ED-AD75AF456AA8}" type="pres">
      <dgm:prSet presAssocID="{0E726395-197B-48A1-A35C-21C1591EBDD4}" presName="titleText2" presStyleLbl="fgAcc1" presStyleIdx="0" presStyleCnt="5" custScaleX="659" custScaleY="343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0F29F473-C0C5-4D9F-8222-B10E26715CF2}" type="pres">
      <dgm:prSet presAssocID="{0E726395-197B-48A1-A35C-21C1591EBDD4}" presName="rootConnector" presStyleLbl="node2" presStyleIdx="0" presStyleCnt="0"/>
      <dgm:spPr/>
      <dgm:t>
        <a:bodyPr/>
        <a:lstStyle/>
        <a:p>
          <a:endParaRPr lang="en-US"/>
        </a:p>
      </dgm:t>
    </dgm:pt>
    <dgm:pt modelId="{E4C74A03-F752-4785-A738-2DA8CF8B87F3}" type="pres">
      <dgm:prSet presAssocID="{0E726395-197B-48A1-A35C-21C1591EBDD4}" presName="hierChild4" presStyleCnt="0"/>
      <dgm:spPr/>
    </dgm:pt>
    <dgm:pt modelId="{20BA6823-96A8-45AE-A0BD-0E4D2CBAF337}" type="pres">
      <dgm:prSet presAssocID="{B930FA56-DDD5-4DB9-936F-9A487715D881}" presName="Name37" presStyleLbl="parChTrans1D3" presStyleIdx="0" presStyleCnt="2"/>
      <dgm:spPr/>
      <dgm:t>
        <a:bodyPr/>
        <a:lstStyle/>
        <a:p>
          <a:endParaRPr lang="en-US"/>
        </a:p>
      </dgm:t>
    </dgm:pt>
    <dgm:pt modelId="{770AD1CE-186B-41EB-822A-2757C704324F}" type="pres">
      <dgm:prSet presAssocID="{BE093903-DDA2-4A30-8F36-4515467E730B}" presName="hierRoot2" presStyleCnt="0">
        <dgm:presLayoutVars>
          <dgm:hierBranch val="init"/>
        </dgm:presLayoutVars>
      </dgm:prSet>
      <dgm:spPr/>
    </dgm:pt>
    <dgm:pt modelId="{98C8BEF4-2BC8-4876-8B77-4D6CF38175FF}" type="pres">
      <dgm:prSet presAssocID="{BE093903-DDA2-4A30-8F36-4515467E730B}" presName="rootComposite" presStyleCnt="0"/>
      <dgm:spPr/>
    </dgm:pt>
    <dgm:pt modelId="{BC8B3DF1-562F-4D1A-A638-8282CCC686DE}" type="pres">
      <dgm:prSet presAssocID="{BE093903-DDA2-4A30-8F36-4515467E730B}" presName="rootText" presStyleLbl="node1" presStyleIdx="1" presStyleCnt="5" custLinFactNeighborX="468" custLinFactNeighborY="-97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80165394-711B-43B1-BC7E-B954EBD4D7EB}" type="pres">
      <dgm:prSet presAssocID="{BE093903-DDA2-4A30-8F36-4515467E730B}" presName="titleText2" presStyleLbl="fgAcc1" presStyleIdx="1" presStyleCnt="5" custScaleX="654" custScaleY="3409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E2B1AB8-3E93-4700-858B-588DE4A970B9}" type="pres">
      <dgm:prSet presAssocID="{BE093903-DDA2-4A30-8F36-4515467E730B}" presName="rootConnector" presStyleLbl="node3" presStyleIdx="0" presStyleCnt="0"/>
      <dgm:spPr/>
      <dgm:t>
        <a:bodyPr/>
        <a:lstStyle/>
        <a:p>
          <a:endParaRPr lang="en-US"/>
        </a:p>
      </dgm:t>
    </dgm:pt>
    <dgm:pt modelId="{ADBAC5B6-1D83-4BCF-8290-562B9FFE103A}" type="pres">
      <dgm:prSet presAssocID="{BE093903-DDA2-4A30-8F36-4515467E730B}" presName="hierChild4" presStyleCnt="0"/>
      <dgm:spPr/>
    </dgm:pt>
    <dgm:pt modelId="{4A0FC913-E770-4B86-B79C-5AA8F3C4525F}" type="pres">
      <dgm:prSet presAssocID="{BE093903-DDA2-4A30-8F36-4515467E730B}" presName="hierChild5" presStyleCnt="0"/>
      <dgm:spPr/>
    </dgm:pt>
    <dgm:pt modelId="{E97BA162-AE90-42AB-986C-E34DA9A1FD31}" type="pres">
      <dgm:prSet presAssocID="{556F4279-4E5B-4B16-B3B8-92C59A3C2A22}" presName="Name37" presStyleLbl="parChTrans1D3" presStyleIdx="1" presStyleCnt="2"/>
      <dgm:spPr/>
      <dgm:t>
        <a:bodyPr/>
        <a:lstStyle/>
        <a:p>
          <a:endParaRPr lang="en-US"/>
        </a:p>
      </dgm:t>
    </dgm:pt>
    <dgm:pt modelId="{86981327-8A1F-4231-8462-3AD56F26309B}" type="pres">
      <dgm:prSet presAssocID="{D0501EE9-93F7-48A0-82EC-D0C2559D71B9}" presName="hierRoot2" presStyleCnt="0">
        <dgm:presLayoutVars>
          <dgm:hierBranch val="init"/>
        </dgm:presLayoutVars>
      </dgm:prSet>
      <dgm:spPr/>
    </dgm:pt>
    <dgm:pt modelId="{23B51CD9-AFD7-4D7C-B85F-CE7151F4300B}" type="pres">
      <dgm:prSet presAssocID="{D0501EE9-93F7-48A0-82EC-D0C2559D71B9}" presName="rootComposite" presStyleCnt="0"/>
      <dgm:spPr/>
    </dgm:pt>
    <dgm:pt modelId="{549BA040-41D3-4A01-878C-659819A8120D}" type="pres">
      <dgm:prSet presAssocID="{D0501EE9-93F7-48A0-82EC-D0C2559D71B9}" presName="rootText" presStyleLbl="node1" presStyleIdx="2" presStyleCnt="5" custLinFactNeighborX="67" custLinFactNeighborY="-559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CA9CF75D-F408-4230-9630-73DA2735594D}" type="pres">
      <dgm:prSet presAssocID="{D0501EE9-93F7-48A0-82EC-D0C2559D71B9}" presName="titleText2" presStyleLbl="fgAcc1" presStyleIdx="2" presStyleCnt="5" custScaleX="648" custScaleY="3378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0C8D85F-96F9-4466-9DF1-04837DC2DB29}" type="pres">
      <dgm:prSet presAssocID="{D0501EE9-93F7-48A0-82EC-D0C2559D71B9}" presName="rootConnector" presStyleLbl="node3" presStyleIdx="0" presStyleCnt="0"/>
      <dgm:spPr/>
      <dgm:t>
        <a:bodyPr/>
        <a:lstStyle/>
        <a:p>
          <a:endParaRPr lang="en-US"/>
        </a:p>
      </dgm:t>
    </dgm:pt>
    <dgm:pt modelId="{D21A30E6-DCC9-4FAB-96E2-43AB72FB6CB2}" type="pres">
      <dgm:prSet presAssocID="{D0501EE9-93F7-48A0-82EC-D0C2559D71B9}" presName="hierChild4" presStyleCnt="0"/>
      <dgm:spPr/>
    </dgm:pt>
    <dgm:pt modelId="{7C281B05-1501-4700-AA67-DDE633E54FA5}" type="pres">
      <dgm:prSet presAssocID="{D0501EE9-93F7-48A0-82EC-D0C2559D71B9}" presName="hierChild5" presStyleCnt="0"/>
      <dgm:spPr/>
    </dgm:pt>
    <dgm:pt modelId="{4C7DEC89-F441-44F9-B805-33704B729EC7}" type="pres">
      <dgm:prSet presAssocID="{0E726395-197B-48A1-A35C-21C1591EBDD4}" presName="hierChild5" presStyleCnt="0"/>
      <dgm:spPr/>
    </dgm:pt>
    <dgm:pt modelId="{165BC65E-2DDD-4012-B9EC-32CD0A19D081}" type="pres">
      <dgm:prSet presAssocID="{75969326-2BEC-4BB0-8EF2-40DEFD6FCE01}" presName="Name37" presStyleLbl="parChTrans1D2" presStyleIdx="1" presStyleCnt="3"/>
      <dgm:spPr/>
      <dgm:t>
        <a:bodyPr/>
        <a:lstStyle/>
        <a:p>
          <a:endParaRPr lang="en-US"/>
        </a:p>
      </dgm:t>
    </dgm:pt>
    <dgm:pt modelId="{B2E6313B-F477-48A1-B50A-173CD4DEBFBF}" type="pres">
      <dgm:prSet presAssocID="{65A9B2C3-ED14-4F11-AD33-EA0D8EA1621B}" presName="hierRoot2" presStyleCnt="0">
        <dgm:presLayoutVars>
          <dgm:hierBranch val="init"/>
        </dgm:presLayoutVars>
      </dgm:prSet>
      <dgm:spPr/>
    </dgm:pt>
    <dgm:pt modelId="{54684387-4B41-45D0-91E7-DF48FF464787}" type="pres">
      <dgm:prSet presAssocID="{65A9B2C3-ED14-4F11-AD33-EA0D8EA1621B}" presName="rootComposite" presStyleCnt="0"/>
      <dgm:spPr/>
    </dgm:pt>
    <dgm:pt modelId="{C2C30035-9241-474B-AFC5-1CA1655D1A2F}" type="pres">
      <dgm:prSet presAssocID="{65A9B2C3-ED14-4F11-AD33-EA0D8EA1621B}" presName="rootText" presStyleLbl="node1" presStyleIdx="3" presStyleCnt="5" custLinFactNeighborY="-41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56CC7125-0E29-4712-8D53-8DC56D42FF29}" type="pres">
      <dgm:prSet presAssocID="{65A9B2C3-ED14-4F11-AD33-EA0D8EA1621B}" presName="titleText2" presStyleLbl="fgAcc1" presStyleIdx="3" presStyleCnt="5" custScaleX="642" custScaleY="3347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6A148A87-7624-4BD6-9A9B-5644CC5C9443}" type="pres">
      <dgm:prSet presAssocID="{65A9B2C3-ED14-4F11-AD33-EA0D8EA1621B}" presName="rootConnector" presStyleLbl="node2" presStyleIdx="0" presStyleCnt="0"/>
      <dgm:spPr/>
      <dgm:t>
        <a:bodyPr/>
        <a:lstStyle/>
        <a:p>
          <a:endParaRPr lang="en-US"/>
        </a:p>
      </dgm:t>
    </dgm:pt>
    <dgm:pt modelId="{EAA5D3E8-9B94-42B5-9318-AC50F1360854}" type="pres">
      <dgm:prSet presAssocID="{65A9B2C3-ED14-4F11-AD33-EA0D8EA1621B}" presName="hierChild4" presStyleCnt="0"/>
      <dgm:spPr/>
    </dgm:pt>
    <dgm:pt modelId="{D1B10139-577E-4C9E-8C9A-292D1CABA804}" type="pres">
      <dgm:prSet presAssocID="{65A9B2C3-ED14-4F11-AD33-EA0D8EA1621B}" presName="hierChild5" presStyleCnt="0"/>
      <dgm:spPr/>
    </dgm:pt>
    <dgm:pt modelId="{175AA87D-F996-4F61-A4C3-27F39964718C}" type="pres">
      <dgm:prSet presAssocID="{B452E287-B325-49D3-B723-77459128976B}" presName="Name37" presStyleLbl="parChTrans1D2" presStyleIdx="2" presStyleCnt="3"/>
      <dgm:spPr/>
      <dgm:t>
        <a:bodyPr/>
        <a:lstStyle/>
        <a:p>
          <a:endParaRPr lang="en-US"/>
        </a:p>
      </dgm:t>
    </dgm:pt>
    <dgm:pt modelId="{7A44D391-01C5-489E-8E71-9D55C84B3E22}" type="pres">
      <dgm:prSet presAssocID="{E33DEFC3-FC53-411A-BA1E-29077477779D}" presName="hierRoot2" presStyleCnt="0">
        <dgm:presLayoutVars>
          <dgm:hierBranch val="init"/>
        </dgm:presLayoutVars>
      </dgm:prSet>
      <dgm:spPr/>
    </dgm:pt>
    <dgm:pt modelId="{B3CF9243-94F4-49BA-8CAD-D5A03F02E60C}" type="pres">
      <dgm:prSet presAssocID="{E33DEFC3-FC53-411A-BA1E-29077477779D}" presName="rootComposite" presStyleCnt="0"/>
      <dgm:spPr/>
    </dgm:pt>
    <dgm:pt modelId="{2ECE7E7A-3523-4157-A511-63B21D19B86A}" type="pres">
      <dgm:prSet presAssocID="{E33DEFC3-FC53-411A-BA1E-29077477779D}" presName="rootText" presStyleLbl="node1" presStyleIdx="4" presStyleCnt="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C681164C-EFCB-427A-BC83-25841A1BE8A3}" type="pres">
      <dgm:prSet presAssocID="{E33DEFC3-FC53-411A-BA1E-29077477779D}" presName="titleText2" presStyleLbl="fgAcc1" presStyleIdx="4" presStyleCnt="5" custScaleX="631" custScaleY="3292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B07577D1-E562-4B62-9157-DCD5C7BEF4BA}" type="pres">
      <dgm:prSet presAssocID="{E33DEFC3-FC53-411A-BA1E-29077477779D}" presName="rootConnector" presStyleLbl="node2" presStyleIdx="0" presStyleCnt="0"/>
      <dgm:spPr/>
      <dgm:t>
        <a:bodyPr/>
        <a:lstStyle/>
        <a:p>
          <a:endParaRPr lang="en-US"/>
        </a:p>
      </dgm:t>
    </dgm:pt>
    <dgm:pt modelId="{E91A39C2-4626-4561-B311-21D0D5A39F41}" type="pres">
      <dgm:prSet presAssocID="{E33DEFC3-FC53-411A-BA1E-29077477779D}" presName="hierChild4" presStyleCnt="0"/>
      <dgm:spPr/>
    </dgm:pt>
    <dgm:pt modelId="{3A6B3889-D4D1-4D55-9640-709B6313D089}" type="pres">
      <dgm:prSet presAssocID="{E33DEFC3-FC53-411A-BA1E-29077477779D}" presName="hierChild5" presStyleCnt="0"/>
      <dgm:spPr/>
    </dgm:pt>
    <dgm:pt modelId="{D7F0947B-02A0-4EB2-99F6-B57DE34B4FDF}" type="pres">
      <dgm:prSet presAssocID="{8B05B13D-4FD5-478C-8397-278E05A8B3A4}" presName="hierChild3" presStyleCnt="0"/>
      <dgm:spPr/>
    </dgm:pt>
  </dgm:ptLst>
  <dgm:cxnLst>
    <dgm:cxn modelId="{05219F3E-3337-4FC6-829F-D0EB598DA83A}" type="presOf" srcId="{8B05B13D-4FD5-478C-8397-278E05A8B3A4}" destId="{74B5C61F-5036-456C-A892-8863C0FF7F21}" srcOrd="1" destOrd="0" presId="urn:microsoft.com/office/officeart/2008/layout/NameandTitleOrganizationalChart"/>
    <dgm:cxn modelId="{911628E3-E3EB-4C97-970B-5F2F2BABF434}" type="presOf" srcId="{04B687DE-26E9-4D8C-88DA-A0328511E504}" destId="{80165394-711B-43B1-BC7E-B954EBD4D7EB}" srcOrd="0" destOrd="0" presId="urn:microsoft.com/office/officeart/2008/layout/NameandTitleOrganizationalChart"/>
    <dgm:cxn modelId="{A7A90B02-C995-4BCF-A03E-4A3FE73514D1}" type="presOf" srcId="{220C4C5E-6846-4CBC-A9E3-E7EBDA8936CF}" destId="{CA9CF75D-F408-4230-9630-73DA2735594D}" srcOrd="0" destOrd="0" presId="urn:microsoft.com/office/officeart/2008/layout/NameandTitleOrganizationalChart"/>
    <dgm:cxn modelId="{E9124466-82AB-4663-A414-FE8441A337D2}" type="presOf" srcId="{BE093903-DDA2-4A30-8F36-4515467E730B}" destId="{BC8B3DF1-562F-4D1A-A638-8282CCC686DE}" srcOrd="0" destOrd="0" presId="urn:microsoft.com/office/officeart/2008/layout/NameandTitleOrganizationalChart"/>
    <dgm:cxn modelId="{84BCF37E-57BC-40E9-8AD5-F00A528CBA6E}" type="presOf" srcId="{B452E287-B325-49D3-B723-77459128976B}" destId="{175AA87D-F996-4F61-A4C3-27F39964718C}" srcOrd="0" destOrd="0" presId="urn:microsoft.com/office/officeart/2008/layout/NameandTitleOrganizationalChart"/>
    <dgm:cxn modelId="{913D40C2-E711-47A9-A3FE-5FA34131C472}" type="presOf" srcId="{AC164A7B-ECC3-4576-A254-0D6EB2558868}" destId="{20B44729-766A-48D7-87ED-AD75AF456AA8}" srcOrd="0" destOrd="0" presId="urn:microsoft.com/office/officeart/2008/layout/NameandTitleOrganizationalChart"/>
    <dgm:cxn modelId="{57214E58-78C0-468A-AFDC-DD82011FA6BA}" srcId="{0E726395-197B-48A1-A35C-21C1591EBDD4}" destId="{BE093903-DDA2-4A30-8F36-4515467E730B}" srcOrd="0" destOrd="0" parTransId="{B930FA56-DDD5-4DB9-936F-9A487715D881}" sibTransId="{04B687DE-26E9-4D8C-88DA-A0328511E504}"/>
    <dgm:cxn modelId="{62B9ECA0-9A24-4E35-88D1-14EF43593CAA}" srcId="{8B05B13D-4FD5-478C-8397-278E05A8B3A4}" destId="{65A9B2C3-ED14-4F11-AD33-EA0D8EA1621B}" srcOrd="1" destOrd="0" parTransId="{75969326-2BEC-4BB0-8EF2-40DEFD6FCE01}" sibTransId="{F9272A94-E943-4C86-945F-9E7D0AF6D63B}"/>
    <dgm:cxn modelId="{6F4BF1B4-16AB-41FF-8636-89429FF9E578}" type="presOf" srcId="{DBF1D4F2-5C65-4C86-AADD-060D2B9F0056}" destId="{87D669C7-970D-45AA-B46C-09FE715E5B0B}" srcOrd="0" destOrd="0" presId="urn:microsoft.com/office/officeart/2008/layout/NameandTitleOrganizationalChart"/>
    <dgm:cxn modelId="{02A314A4-2D95-4E9E-ABBD-54AF1890E187}" srcId="{8B05B13D-4FD5-478C-8397-278E05A8B3A4}" destId="{0E726395-197B-48A1-A35C-21C1591EBDD4}" srcOrd="0" destOrd="0" parTransId="{DBF1D4F2-5C65-4C86-AADD-060D2B9F0056}" sibTransId="{AC164A7B-ECC3-4576-A254-0D6EB2558868}"/>
    <dgm:cxn modelId="{29558FE3-291C-466D-8DAA-399BF8F0EAB5}" srcId="{0E726395-197B-48A1-A35C-21C1591EBDD4}" destId="{D0501EE9-93F7-48A0-82EC-D0C2559D71B9}" srcOrd="1" destOrd="0" parTransId="{556F4279-4E5B-4B16-B3B8-92C59A3C2A22}" sibTransId="{220C4C5E-6846-4CBC-A9E3-E7EBDA8936CF}"/>
    <dgm:cxn modelId="{A77B48B9-4BEE-41A8-9E5F-7E7579287044}" type="presOf" srcId="{B930FA56-DDD5-4DB9-936F-9A487715D881}" destId="{20BA6823-96A8-45AE-A0BD-0E4D2CBAF337}" srcOrd="0" destOrd="0" presId="urn:microsoft.com/office/officeart/2008/layout/NameandTitleOrganizationalChart"/>
    <dgm:cxn modelId="{16CAE528-8E7D-4046-A368-D330741D163D}" type="presOf" srcId="{E33DEFC3-FC53-411A-BA1E-29077477779D}" destId="{2ECE7E7A-3523-4157-A511-63B21D19B86A}" srcOrd="0" destOrd="0" presId="urn:microsoft.com/office/officeart/2008/layout/NameandTitleOrganizationalChart"/>
    <dgm:cxn modelId="{4E9FD751-2293-4967-ACF2-E9636D31F3A9}" type="presOf" srcId="{65A9B2C3-ED14-4F11-AD33-EA0D8EA1621B}" destId="{6A148A87-7624-4BD6-9A9B-5644CC5C9443}" srcOrd="1" destOrd="0" presId="urn:microsoft.com/office/officeart/2008/layout/NameandTitleOrganizationalChart"/>
    <dgm:cxn modelId="{41EA021E-6AED-4072-BFAB-EBCBD70777F3}" type="presOf" srcId="{195F0342-D3DA-416A-B22B-A041EC16A2BC}" destId="{C681164C-EFCB-427A-BC83-25841A1BE8A3}" srcOrd="0" destOrd="0" presId="urn:microsoft.com/office/officeart/2008/layout/NameandTitleOrganizationalChart"/>
    <dgm:cxn modelId="{3163A3F7-EEDB-474D-8092-6354E832120C}" srcId="{8B05B13D-4FD5-478C-8397-278E05A8B3A4}" destId="{E33DEFC3-FC53-411A-BA1E-29077477779D}" srcOrd="2" destOrd="0" parTransId="{B452E287-B325-49D3-B723-77459128976B}" sibTransId="{195F0342-D3DA-416A-B22B-A041EC16A2BC}"/>
    <dgm:cxn modelId="{B8DAC543-25A3-4423-82A2-AE6D11E71DA0}" type="presOf" srcId="{E33DEFC3-FC53-411A-BA1E-29077477779D}" destId="{B07577D1-E562-4B62-9157-DCD5C7BEF4BA}" srcOrd="1" destOrd="0" presId="urn:microsoft.com/office/officeart/2008/layout/NameandTitleOrganizationalChart"/>
    <dgm:cxn modelId="{B54F0A5D-197E-4B5D-9A0F-D64497B0506E}" type="presOf" srcId="{65A9B2C3-ED14-4F11-AD33-EA0D8EA1621B}" destId="{C2C30035-9241-474B-AFC5-1CA1655D1A2F}" srcOrd="0" destOrd="0" presId="urn:microsoft.com/office/officeart/2008/layout/NameandTitleOrganizationalChart"/>
    <dgm:cxn modelId="{19EF464C-7D9B-43D5-B6C5-0329D47637FA}" type="presOf" srcId="{0E726395-197B-48A1-A35C-21C1591EBDD4}" destId="{0F29F473-C0C5-4D9F-8222-B10E26715CF2}" srcOrd="1" destOrd="0" presId="urn:microsoft.com/office/officeart/2008/layout/NameandTitleOrganizationalChart"/>
    <dgm:cxn modelId="{23FF044E-DF7D-4E0E-8AE2-20A9D856B205}" type="presOf" srcId="{556F4279-4E5B-4B16-B3B8-92C59A3C2A22}" destId="{E97BA162-AE90-42AB-986C-E34DA9A1FD31}" srcOrd="0" destOrd="0" presId="urn:microsoft.com/office/officeart/2008/layout/NameandTitleOrganizationalChart"/>
    <dgm:cxn modelId="{CEE3C6D2-49F4-4A32-A954-084919BE861D}" type="presOf" srcId="{F9272A94-E943-4C86-945F-9E7D0AF6D63B}" destId="{56CC7125-0E29-4712-8D53-8DC56D42FF29}" srcOrd="0" destOrd="0" presId="urn:microsoft.com/office/officeart/2008/layout/NameandTitleOrganizationalChart"/>
    <dgm:cxn modelId="{361A8837-408E-44C9-905F-23DA4D05977E}" type="presOf" srcId="{F4A67678-D96D-4FA4-ABB5-78A5D2EE565C}" destId="{845E6649-DB73-4C3B-A81F-DCD945F5C92F}" srcOrd="0" destOrd="0" presId="urn:microsoft.com/office/officeart/2008/layout/NameandTitleOrganizationalChart"/>
    <dgm:cxn modelId="{82C492C2-FA72-4309-B712-A1939ED9E795}" type="presOf" srcId="{D0501EE9-93F7-48A0-82EC-D0C2559D71B9}" destId="{549BA040-41D3-4A01-878C-659819A8120D}" srcOrd="0" destOrd="0" presId="urn:microsoft.com/office/officeart/2008/layout/NameandTitleOrganizationalChart"/>
    <dgm:cxn modelId="{4C3CE610-E109-409E-A8B1-DE3D5BC32AA4}" type="presOf" srcId="{8B05B13D-4FD5-478C-8397-278E05A8B3A4}" destId="{34CFB2D3-86FD-4120-B3DD-8F35B1C582AF}" srcOrd="0" destOrd="0" presId="urn:microsoft.com/office/officeart/2008/layout/NameandTitleOrganizationalChart"/>
    <dgm:cxn modelId="{6D15D081-0253-4B14-95CB-4527D71C9BDB}" type="presOf" srcId="{DA72A292-EAB1-4485-81D0-01D1A4CA5633}" destId="{74E3AC88-DD94-4480-87AE-C92D37D2DD55}" srcOrd="0" destOrd="0" presId="urn:microsoft.com/office/officeart/2008/layout/NameandTitleOrganizationalChart"/>
    <dgm:cxn modelId="{C0155EC5-D4CC-49E9-AFD5-80B17C5E37B1}" type="presOf" srcId="{0E726395-197B-48A1-A35C-21C1591EBDD4}" destId="{8EE35D8B-BEB4-45A9-B5AF-E76DC893500D}" srcOrd="0" destOrd="0" presId="urn:microsoft.com/office/officeart/2008/layout/NameandTitleOrganizationalChart"/>
    <dgm:cxn modelId="{7A446AE0-A94C-4EF8-9A35-FF1B89465292}" type="presOf" srcId="{75969326-2BEC-4BB0-8EF2-40DEFD6FCE01}" destId="{165BC65E-2DDD-4012-B9EC-32CD0A19D081}" srcOrd="0" destOrd="0" presId="urn:microsoft.com/office/officeart/2008/layout/NameandTitleOrganizationalChart"/>
    <dgm:cxn modelId="{A5E8A828-0A61-416A-9E1A-69DFAD3034D8}" type="presOf" srcId="{BE093903-DDA2-4A30-8F36-4515467E730B}" destId="{AE2B1AB8-3E93-4700-858B-588DE4A970B9}" srcOrd="1" destOrd="0" presId="urn:microsoft.com/office/officeart/2008/layout/NameandTitleOrganizationalChart"/>
    <dgm:cxn modelId="{8A926327-4488-4B5A-9E08-9DD14C4B8DA0}" srcId="{F4A67678-D96D-4FA4-ABB5-78A5D2EE565C}" destId="{8B05B13D-4FD5-478C-8397-278E05A8B3A4}" srcOrd="0" destOrd="0" parTransId="{62473CAD-B112-4F9A-8BA5-B2DF01F0DC54}" sibTransId="{DA72A292-EAB1-4485-81D0-01D1A4CA5633}"/>
    <dgm:cxn modelId="{7FB06FB1-2D31-4679-9FAD-CFEC27E33C3F}" type="presOf" srcId="{D0501EE9-93F7-48A0-82EC-D0C2559D71B9}" destId="{70C8D85F-96F9-4466-9DF1-04837DC2DB29}" srcOrd="1" destOrd="0" presId="urn:microsoft.com/office/officeart/2008/layout/NameandTitleOrganizationalChart"/>
    <dgm:cxn modelId="{377064F5-5B1A-4CF0-9EAB-98FBAF371CC5}" type="presParOf" srcId="{845E6649-DB73-4C3B-A81F-DCD945F5C92F}" destId="{EEFBEEAA-F5F3-4095-8F4A-8163865279F8}" srcOrd="0" destOrd="0" presId="urn:microsoft.com/office/officeart/2008/layout/NameandTitleOrganizationalChart"/>
    <dgm:cxn modelId="{64FDCDC5-C2E7-4D22-BB33-D61374542271}" type="presParOf" srcId="{EEFBEEAA-F5F3-4095-8F4A-8163865279F8}" destId="{32E03310-8D03-475D-AD06-0E715F35FCF7}" srcOrd="0" destOrd="0" presId="urn:microsoft.com/office/officeart/2008/layout/NameandTitleOrganizationalChart"/>
    <dgm:cxn modelId="{CD315DD3-3FC9-43D8-BE4E-0678FDC169D4}" type="presParOf" srcId="{32E03310-8D03-475D-AD06-0E715F35FCF7}" destId="{34CFB2D3-86FD-4120-B3DD-8F35B1C582AF}" srcOrd="0" destOrd="0" presId="urn:microsoft.com/office/officeart/2008/layout/NameandTitleOrganizationalChart"/>
    <dgm:cxn modelId="{028BC30A-E6A8-4726-9C96-F48ED008790B}" type="presParOf" srcId="{32E03310-8D03-475D-AD06-0E715F35FCF7}" destId="{74E3AC88-DD94-4480-87AE-C92D37D2DD55}" srcOrd="1" destOrd="0" presId="urn:microsoft.com/office/officeart/2008/layout/NameandTitleOrganizationalChart"/>
    <dgm:cxn modelId="{09278862-22A2-45CB-9002-CBBBE785344C}" type="presParOf" srcId="{32E03310-8D03-475D-AD06-0E715F35FCF7}" destId="{74B5C61F-5036-456C-A892-8863C0FF7F21}" srcOrd="2" destOrd="0" presId="urn:microsoft.com/office/officeart/2008/layout/NameandTitleOrganizationalChart"/>
    <dgm:cxn modelId="{86FC8552-E234-4B28-AB33-CEA16A2C3D34}" type="presParOf" srcId="{EEFBEEAA-F5F3-4095-8F4A-8163865279F8}" destId="{12FF31B3-25B8-4ADC-A489-25E8DBE717CC}" srcOrd="1" destOrd="0" presId="urn:microsoft.com/office/officeart/2008/layout/NameandTitleOrganizationalChart"/>
    <dgm:cxn modelId="{013D1666-13E3-442C-9047-A6094EBBF07C}" type="presParOf" srcId="{12FF31B3-25B8-4ADC-A489-25E8DBE717CC}" destId="{87D669C7-970D-45AA-B46C-09FE715E5B0B}" srcOrd="0" destOrd="0" presId="urn:microsoft.com/office/officeart/2008/layout/NameandTitleOrganizationalChart"/>
    <dgm:cxn modelId="{2B3EEA6F-4CE4-4347-A92A-94C0563AA447}" type="presParOf" srcId="{12FF31B3-25B8-4ADC-A489-25E8DBE717CC}" destId="{A4542736-D2F7-4122-9F09-10505CA4DAF7}" srcOrd="1" destOrd="0" presId="urn:microsoft.com/office/officeart/2008/layout/NameandTitleOrganizationalChart"/>
    <dgm:cxn modelId="{C68518EA-4D9C-4344-91DD-FB11C64A73A0}" type="presParOf" srcId="{A4542736-D2F7-4122-9F09-10505CA4DAF7}" destId="{3D0FABB7-B904-488E-8F4D-E14A1E2AE9EE}" srcOrd="0" destOrd="0" presId="urn:microsoft.com/office/officeart/2008/layout/NameandTitleOrganizationalChart"/>
    <dgm:cxn modelId="{B9B1F67E-3BC5-42B4-8397-8B4D49CC6276}" type="presParOf" srcId="{3D0FABB7-B904-488E-8F4D-E14A1E2AE9EE}" destId="{8EE35D8B-BEB4-45A9-B5AF-E76DC893500D}" srcOrd="0" destOrd="0" presId="urn:microsoft.com/office/officeart/2008/layout/NameandTitleOrganizationalChart"/>
    <dgm:cxn modelId="{DDEFAE94-FE23-4F94-AFFA-FEEF58526B5D}" type="presParOf" srcId="{3D0FABB7-B904-488E-8F4D-E14A1E2AE9EE}" destId="{20B44729-766A-48D7-87ED-AD75AF456AA8}" srcOrd="1" destOrd="0" presId="urn:microsoft.com/office/officeart/2008/layout/NameandTitleOrganizationalChart"/>
    <dgm:cxn modelId="{91850CAA-3C20-4F35-9180-380B3676AAC7}" type="presParOf" srcId="{3D0FABB7-B904-488E-8F4D-E14A1E2AE9EE}" destId="{0F29F473-C0C5-4D9F-8222-B10E26715CF2}" srcOrd="2" destOrd="0" presId="urn:microsoft.com/office/officeart/2008/layout/NameandTitleOrganizationalChart"/>
    <dgm:cxn modelId="{934E13AF-4060-4C0D-8ECF-3D439994A266}" type="presParOf" srcId="{A4542736-D2F7-4122-9F09-10505CA4DAF7}" destId="{E4C74A03-F752-4785-A738-2DA8CF8B87F3}" srcOrd="1" destOrd="0" presId="urn:microsoft.com/office/officeart/2008/layout/NameandTitleOrganizationalChart"/>
    <dgm:cxn modelId="{EE243F94-E882-4FE5-9A2B-D84363A05623}" type="presParOf" srcId="{E4C74A03-F752-4785-A738-2DA8CF8B87F3}" destId="{20BA6823-96A8-45AE-A0BD-0E4D2CBAF337}" srcOrd="0" destOrd="0" presId="urn:microsoft.com/office/officeart/2008/layout/NameandTitleOrganizationalChart"/>
    <dgm:cxn modelId="{8D3ED07E-1F47-4D0A-A3C7-BBF7C7124D30}" type="presParOf" srcId="{E4C74A03-F752-4785-A738-2DA8CF8B87F3}" destId="{770AD1CE-186B-41EB-822A-2757C704324F}" srcOrd="1" destOrd="0" presId="urn:microsoft.com/office/officeart/2008/layout/NameandTitleOrganizationalChart"/>
    <dgm:cxn modelId="{501DC9C4-7DB3-4559-9484-9B58E7EC2656}" type="presParOf" srcId="{770AD1CE-186B-41EB-822A-2757C704324F}" destId="{98C8BEF4-2BC8-4876-8B77-4D6CF38175FF}" srcOrd="0" destOrd="0" presId="urn:microsoft.com/office/officeart/2008/layout/NameandTitleOrganizationalChart"/>
    <dgm:cxn modelId="{44E53721-9CFE-4E46-81BB-13F12E1B908C}" type="presParOf" srcId="{98C8BEF4-2BC8-4876-8B77-4D6CF38175FF}" destId="{BC8B3DF1-562F-4D1A-A638-8282CCC686DE}" srcOrd="0" destOrd="0" presId="urn:microsoft.com/office/officeart/2008/layout/NameandTitleOrganizationalChart"/>
    <dgm:cxn modelId="{5BB985F1-B7DE-40F4-B55D-F0071641B1F3}" type="presParOf" srcId="{98C8BEF4-2BC8-4876-8B77-4D6CF38175FF}" destId="{80165394-711B-43B1-BC7E-B954EBD4D7EB}" srcOrd="1" destOrd="0" presId="urn:microsoft.com/office/officeart/2008/layout/NameandTitleOrganizationalChart"/>
    <dgm:cxn modelId="{05AC378A-6DD8-4676-9B66-D8CD1818A53B}" type="presParOf" srcId="{98C8BEF4-2BC8-4876-8B77-4D6CF38175FF}" destId="{AE2B1AB8-3E93-4700-858B-588DE4A970B9}" srcOrd="2" destOrd="0" presId="urn:microsoft.com/office/officeart/2008/layout/NameandTitleOrganizationalChart"/>
    <dgm:cxn modelId="{9E13E9B5-65E9-446A-8057-62BB638599EC}" type="presParOf" srcId="{770AD1CE-186B-41EB-822A-2757C704324F}" destId="{ADBAC5B6-1D83-4BCF-8290-562B9FFE103A}" srcOrd="1" destOrd="0" presId="urn:microsoft.com/office/officeart/2008/layout/NameandTitleOrganizationalChart"/>
    <dgm:cxn modelId="{6CC3522C-9F44-4799-81E1-FF35F68B02AB}" type="presParOf" srcId="{770AD1CE-186B-41EB-822A-2757C704324F}" destId="{4A0FC913-E770-4B86-B79C-5AA8F3C4525F}" srcOrd="2" destOrd="0" presId="urn:microsoft.com/office/officeart/2008/layout/NameandTitleOrganizationalChart"/>
    <dgm:cxn modelId="{C372BB7B-A38B-4A8B-AA5C-17322E0D9D94}" type="presParOf" srcId="{E4C74A03-F752-4785-A738-2DA8CF8B87F3}" destId="{E97BA162-AE90-42AB-986C-E34DA9A1FD31}" srcOrd="2" destOrd="0" presId="urn:microsoft.com/office/officeart/2008/layout/NameandTitleOrganizationalChart"/>
    <dgm:cxn modelId="{19A575D0-06FC-49C9-BEC4-3B9C3EA5D40A}" type="presParOf" srcId="{E4C74A03-F752-4785-A738-2DA8CF8B87F3}" destId="{86981327-8A1F-4231-8462-3AD56F26309B}" srcOrd="3" destOrd="0" presId="urn:microsoft.com/office/officeart/2008/layout/NameandTitleOrganizationalChart"/>
    <dgm:cxn modelId="{7B31335E-07E0-4966-A603-B6DDDB378AFD}" type="presParOf" srcId="{86981327-8A1F-4231-8462-3AD56F26309B}" destId="{23B51CD9-AFD7-4D7C-B85F-CE7151F4300B}" srcOrd="0" destOrd="0" presId="urn:microsoft.com/office/officeart/2008/layout/NameandTitleOrganizationalChart"/>
    <dgm:cxn modelId="{91073628-0E6D-4D9D-B239-7052F80BEF2D}" type="presParOf" srcId="{23B51CD9-AFD7-4D7C-B85F-CE7151F4300B}" destId="{549BA040-41D3-4A01-878C-659819A8120D}" srcOrd="0" destOrd="0" presId="urn:microsoft.com/office/officeart/2008/layout/NameandTitleOrganizationalChart"/>
    <dgm:cxn modelId="{E2FB0BBD-E8FB-44C4-BAC7-DE8EDF4295D3}" type="presParOf" srcId="{23B51CD9-AFD7-4D7C-B85F-CE7151F4300B}" destId="{CA9CF75D-F408-4230-9630-73DA2735594D}" srcOrd="1" destOrd="0" presId="urn:microsoft.com/office/officeart/2008/layout/NameandTitleOrganizationalChart"/>
    <dgm:cxn modelId="{67E576A4-166D-475F-A9F1-A77E5C772EE6}" type="presParOf" srcId="{23B51CD9-AFD7-4D7C-B85F-CE7151F4300B}" destId="{70C8D85F-96F9-4466-9DF1-04837DC2DB29}" srcOrd="2" destOrd="0" presId="urn:microsoft.com/office/officeart/2008/layout/NameandTitleOrganizationalChart"/>
    <dgm:cxn modelId="{018F6FDF-00B7-4C46-A4A0-50810D2B061C}" type="presParOf" srcId="{86981327-8A1F-4231-8462-3AD56F26309B}" destId="{D21A30E6-DCC9-4FAB-96E2-43AB72FB6CB2}" srcOrd="1" destOrd="0" presId="urn:microsoft.com/office/officeart/2008/layout/NameandTitleOrganizationalChart"/>
    <dgm:cxn modelId="{CED2DD9E-559F-455F-A6F8-BA30B1354C45}" type="presParOf" srcId="{86981327-8A1F-4231-8462-3AD56F26309B}" destId="{7C281B05-1501-4700-AA67-DDE633E54FA5}" srcOrd="2" destOrd="0" presId="urn:microsoft.com/office/officeart/2008/layout/NameandTitleOrganizationalChart"/>
    <dgm:cxn modelId="{FE95CE32-2A2B-494F-A469-3A2EB43C43E0}" type="presParOf" srcId="{A4542736-D2F7-4122-9F09-10505CA4DAF7}" destId="{4C7DEC89-F441-44F9-B805-33704B729EC7}" srcOrd="2" destOrd="0" presId="urn:microsoft.com/office/officeart/2008/layout/NameandTitleOrganizationalChart"/>
    <dgm:cxn modelId="{12B6BAF0-527A-4194-B907-7BAD22BB8303}" type="presParOf" srcId="{12FF31B3-25B8-4ADC-A489-25E8DBE717CC}" destId="{165BC65E-2DDD-4012-B9EC-32CD0A19D081}" srcOrd="2" destOrd="0" presId="urn:microsoft.com/office/officeart/2008/layout/NameandTitleOrganizationalChart"/>
    <dgm:cxn modelId="{734F9A65-0EB8-45B1-9D28-025729B7B2A3}" type="presParOf" srcId="{12FF31B3-25B8-4ADC-A489-25E8DBE717CC}" destId="{B2E6313B-F477-48A1-B50A-173CD4DEBFBF}" srcOrd="3" destOrd="0" presId="urn:microsoft.com/office/officeart/2008/layout/NameandTitleOrganizationalChart"/>
    <dgm:cxn modelId="{228E5618-5839-4805-A4F0-10CE87CA426C}" type="presParOf" srcId="{B2E6313B-F477-48A1-B50A-173CD4DEBFBF}" destId="{54684387-4B41-45D0-91E7-DF48FF464787}" srcOrd="0" destOrd="0" presId="urn:microsoft.com/office/officeart/2008/layout/NameandTitleOrganizationalChart"/>
    <dgm:cxn modelId="{8B01C0D8-FEAC-4C23-94D2-AE2E67A90CEA}" type="presParOf" srcId="{54684387-4B41-45D0-91E7-DF48FF464787}" destId="{C2C30035-9241-474B-AFC5-1CA1655D1A2F}" srcOrd="0" destOrd="0" presId="urn:microsoft.com/office/officeart/2008/layout/NameandTitleOrganizationalChart"/>
    <dgm:cxn modelId="{00B42E7C-7F69-49D7-A843-A86F4CD40EC5}" type="presParOf" srcId="{54684387-4B41-45D0-91E7-DF48FF464787}" destId="{56CC7125-0E29-4712-8D53-8DC56D42FF29}" srcOrd="1" destOrd="0" presId="urn:microsoft.com/office/officeart/2008/layout/NameandTitleOrganizationalChart"/>
    <dgm:cxn modelId="{044AE1C9-8DC9-47CC-813F-C6B0026B2CA9}" type="presParOf" srcId="{54684387-4B41-45D0-91E7-DF48FF464787}" destId="{6A148A87-7624-4BD6-9A9B-5644CC5C9443}" srcOrd="2" destOrd="0" presId="urn:microsoft.com/office/officeart/2008/layout/NameandTitleOrganizationalChart"/>
    <dgm:cxn modelId="{8A2BB74E-6A3F-4F91-9603-8CEDD8487B59}" type="presParOf" srcId="{B2E6313B-F477-48A1-B50A-173CD4DEBFBF}" destId="{EAA5D3E8-9B94-42B5-9318-AC50F1360854}" srcOrd="1" destOrd="0" presId="urn:microsoft.com/office/officeart/2008/layout/NameandTitleOrganizationalChart"/>
    <dgm:cxn modelId="{2322C166-406F-4739-ABA9-8FE15B639F2D}" type="presParOf" srcId="{B2E6313B-F477-48A1-B50A-173CD4DEBFBF}" destId="{D1B10139-577E-4C9E-8C9A-292D1CABA804}" srcOrd="2" destOrd="0" presId="urn:microsoft.com/office/officeart/2008/layout/NameandTitleOrganizationalChart"/>
    <dgm:cxn modelId="{00178217-A284-4962-97AE-FC30A0189C3C}" type="presParOf" srcId="{12FF31B3-25B8-4ADC-A489-25E8DBE717CC}" destId="{175AA87D-F996-4F61-A4C3-27F39964718C}" srcOrd="4" destOrd="0" presId="urn:microsoft.com/office/officeart/2008/layout/NameandTitleOrganizationalChart"/>
    <dgm:cxn modelId="{381D5D5C-DFB9-4011-9CB3-EA429A4E3D6E}" type="presParOf" srcId="{12FF31B3-25B8-4ADC-A489-25E8DBE717CC}" destId="{7A44D391-01C5-489E-8E71-9D55C84B3E22}" srcOrd="5" destOrd="0" presId="urn:microsoft.com/office/officeart/2008/layout/NameandTitleOrganizationalChart"/>
    <dgm:cxn modelId="{F3ECADE8-8D48-4F38-9F5D-0A22C3D30445}" type="presParOf" srcId="{7A44D391-01C5-489E-8E71-9D55C84B3E22}" destId="{B3CF9243-94F4-49BA-8CAD-D5A03F02E60C}" srcOrd="0" destOrd="0" presId="urn:microsoft.com/office/officeart/2008/layout/NameandTitleOrganizationalChart"/>
    <dgm:cxn modelId="{D98BE793-E0B0-4C45-94D3-E74A40F09775}" type="presParOf" srcId="{B3CF9243-94F4-49BA-8CAD-D5A03F02E60C}" destId="{2ECE7E7A-3523-4157-A511-63B21D19B86A}" srcOrd="0" destOrd="0" presId="urn:microsoft.com/office/officeart/2008/layout/NameandTitleOrganizationalChart"/>
    <dgm:cxn modelId="{83B34220-15B7-4D9C-A1B6-3B1A6F6303FF}" type="presParOf" srcId="{B3CF9243-94F4-49BA-8CAD-D5A03F02E60C}" destId="{C681164C-EFCB-427A-BC83-25841A1BE8A3}" srcOrd="1" destOrd="0" presId="urn:microsoft.com/office/officeart/2008/layout/NameandTitleOrganizationalChart"/>
    <dgm:cxn modelId="{3B66E90E-5380-4147-A63D-D178911A9930}" type="presParOf" srcId="{B3CF9243-94F4-49BA-8CAD-D5A03F02E60C}" destId="{B07577D1-E562-4B62-9157-DCD5C7BEF4BA}" srcOrd="2" destOrd="0" presId="urn:microsoft.com/office/officeart/2008/layout/NameandTitleOrganizationalChart"/>
    <dgm:cxn modelId="{1091B448-01EF-44EF-9ED3-8577F0B1AF36}" type="presParOf" srcId="{7A44D391-01C5-489E-8E71-9D55C84B3E22}" destId="{E91A39C2-4626-4561-B311-21D0D5A39F41}" srcOrd="1" destOrd="0" presId="urn:microsoft.com/office/officeart/2008/layout/NameandTitleOrganizationalChart"/>
    <dgm:cxn modelId="{4E24F153-C4B2-4BCB-972D-68718F02C033}" type="presParOf" srcId="{7A44D391-01C5-489E-8E71-9D55C84B3E22}" destId="{3A6B3889-D4D1-4D55-9640-709B6313D089}" srcOrd="2" destOrd="0" presId="urn:microsoft.com/office/officeart/2008/layout/NameandTitleOrganizationalChart"/>
    <dgm:cxn modelId="{0386B561-C9CD-46BD-B864-5D033433379D}" type="presParOf" srcId="{EEFBEEAA-F5F3-4095-8F4A-8163865279F8}" destId="{D7F0947B-02A0-4EB2-99F6-B57DE34B4FDF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A67678-D96D-4FA4-ABB5-78A5D2EE565C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B05B13D-4FD5-478C-8397-278E05A8B3A4}">
      <dgm:prSet phldrT="[Text]" custT="1"/>
      <dgm:spPr>
        <a:xfrm>
          <a:off x="5216286" y="1221581"/>
          <a:ext cx="1327989" cy="620913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lIns="91440" tIns="91440"/>
        <a:lstStyle/>
        <a:p>
          <a:pPr algn="ctr"/>
          <a:r>
            <a:rPr lang="en-US" sz="800" b="1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CW </a:t>
          </a:r>
        </a:p>
        <a:p>
          <a:pPr algn="ctr"/>
          <a:r>
            <a:rPr lang="en-US" sz="8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Composite sequence root node</a:t>
          </a:r>
        </a:p>
      </dgm:t>
    </dgm:pt>
    <dgm:pt modelId="{62473CAD-B112-4F9A-8BA5-B2DF01F0DC54}" type="parTrans" cxnId="{8A926327-4488-4B5A-9E08-9DD14C4B8DA0}">
      <dgm:prSet/>
      <dgm:spPr/>
      <dgm:t>
        <a:bodyPr/>
        <a:lstStyle/>
        <a:p>
          <a:endParaRPr lang="en-US" sz="2000"/>
        </a:p>
      </dgm:t>
    </dgm:pt>
    <dgm:pt modelId="{DA72A292-EAB1-4485-81D0-01D1A4CA5633}" type="sibTrans" cxnId="{8A926327-4488-4B5A-9E08-9DD14C4B8DA0}">
      <dgm:prSet custT="1"/>
      <dgm:spPr>
        <a:xfrm>
          <a:off x="5344036" y="1796440"/>
          <a:ext cx="7976" cy="7972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65A9B2C3-ED14-4F11-AD33-EA0D8EA1621B}">
      <dgm:prSet phldrT="[Text]" custT="1"/>
      <dgm:spPr>
        <a:xfrm>
          <a:off x="8036314" y="2131999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91440"/>
        <a:lstStyle/>
        <a:p>
          <a:pPr algn="ctr"/>
          <a:r>
            <a:rPr lang="en-US" sz="105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ide actor behavior</a:t>
          </a:r>
        </a:p>
      </dgm:t>
    </dgm:pt>
    <dgm:pt modelId="{75969326-2BEC-4BB0-8EF2-40DEFD6FCE01}" type="parTrans" cxnId="{62B9ECA0-9A24-4E35-88D1-14EF43593CAA}">
      <dgm:prSet/>
      <dgm:spPr>
        <a:xfrm>
          <a:off x="5880281" y="1842494"/>
          <a:ext cx="2755652" cy="289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625"/>
              </a:lnTo>
              <a:lnTo>
                <a:pt x="2755652" y="144625"/>
              </a:lnTo>
              <a:lnTo>
                <a:pt x="2755652" y="28950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F9272A94-E943-4C86-945F-9E7D0AF6D63B}" type="sibTrans" cxnId="{62B9ECA0-9A24-4E35-88D1-14EF43593CAA}">
      <dgm:prSet custT="1"/>
      <dgm:spPr>
        <a:xfrm>
          <a:off x="8812355" y="2715208"/>
          <a:ext cx="6929" cy="6927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D0501EE9-93F7-48A0-82EC-D0C2559D71B9}">
      <dgm:prSet custT="1"/>
      <dgm:spPr>
        <a:xfrm>
          <a:off x="2465850" y="303945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182880"/>
        <a:lstStyle/>
        <a:p>
          <a:pPr algn="ctr"/>
          <a:r>
            <a:rPr lang="en-US" sz="6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opVehicle</a:t>
          </a:r>
          <a:endParaRPr lang="en-US" sz="600" b="1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ctr"/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6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max_brake</a:t>
          </a:r>
          <a:endParaRPr lang="en-US" sz="6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algn="ctr"/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</a:t>
          </a:r>
          <a:r>
            <a:rPr lang="en-US" sz="60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 the actor stopped moving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220C4C5E-6846-4CBC-A9E3-E7EBDA8936CF}" type="sibTrans" cxnId="{29558FE3-291C-466D-8DAA-399BF8F0EAB5}">
      <dgm:prSet custT="1"/>
      <dgm:spPr>
        <a:xfrm>
          <a:off x="3241055" y="3625849"/>
          <a:ext cx="6993" cy="699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556F4279-4E5B-4B16-B3B8-92C59A3C2A22}" type="parTrans" cxnId="{29558FE3-291C-466D-8DAA-399BF8F0EAB5}">
      <dgm:prSet/>
      <dgm:spPr>
        <a:xfrm>
          <a:off x="3019750" y="2753167"/>
          <a:ext cx="91440" cy="286288"/>
        </a:xfrm>
        <a:custGeom>
          <a:avLst/>
          <a:gdLst/>
          <a:ahLst/>
          <a:cxnLst/>
          <a:rect l="0" t="0" r="0" b="0"/>
          <a:pathLst>
            <a:path>
              <a:moveTo>
                <a:pt x="104878" y="0"/>
              </a:moveTo>
              <a:lnTo>
                <a:pt x="104878" y="141408"/>
              </a:lnTo>
              <a:lnTo>
                <a:pt x="45720" y="141408"/>
              </a:lnTo>
              <a:lnTo>
                <a:pt x="45720" y="286288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1874289D-BBB9-4735-A7BD-C613BBDD9B5E}">
      <dgm:prSet custT="1"/>
      <dgm:spPr>
        <a:xfrm>
          <a:off x="1720547" y="3953599"/>
          <a:ext cx="1199239" cy="620913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5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InTriggerDistanceToLocation</a:t>
          </a:r>
          <a:endParaRPr lang="en-US" sz="5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5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target_location</a:t>
          </a:r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, </a:t>
          </a:r>
          <a:r>
            <a:rPr lang="en-US" sz="5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5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2FA38BBE-A3C8-49E2-9F47-6C8AEDFE4E79}" type="parTrans" cxnId="{9225E732-FB59-44CB-8927-8883464D4AA0}">
      <dgm:prSet/>
      <dgm:spPr>
        <a:xfrm>
          <a:off x="1581280" y="3657786"/>
          <a:ext cx="738887" cy="2958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33"/>
              </a:lnTo>
              <a:lnTo>
                <a:pt x="738887" y="150933"/>
              </a:lnTo>
              <a:lnTo>
                <a:pt x="738887" y="29581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46B54ACF-93D2-4E4A-81B4-4020B56EED66}" type="sibTrans" cxnId="{9225E732-FB59-44CB-8927-8883464D4AA0}">
      <dgm:prSet/>
      <dgm:spPr>
        <a:xfrm>
          <a:off x="2219010" y="5350931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98D75CB2-5652-4BE1-8A32-E3C65B4D5D01}">
      <dgm:prSet custT="1"/>
      <dgm:spPr>
        <a:xfrm>
          <a:off x="3954045" y="3042926"/>
          <a:ext cx="1199239" cy="620913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182880"/>
        <a:lstStyle/>
        <a:p>
          <a:pPr algn="ctr"/>
          <a:r>
            <a:rPr lang="en-US" sz="6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andStill</a:t>
          </a:r>
          <a:endParaRPr lang="en-US" sz="6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algn="ctr"/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ego vehicle, duration</a:t>
          </a:r>
        </a:p>
        <a:p>
          <a:pPr algn="ctr"/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the vehicle </a:t>
          </a:r>
          <a:r>
            <a:rPr lang="en-US" sz="60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oes not move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F7C3CF15-5E0D-4665-882D-36D58CF12A60}" type="parTrans" cxnId="{C2B67B6A-5EAB-409F-8DDD-2B8479DEE8C7}">
      <dgm:prSet/>
      <dgm:spPr>
        <a:xfrm>
          <a:off x="3124628" y="2753167"/>
          <a:ext cx="1429036" cy="289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879"/>
              </a:lnTo>
              <a:lnTo>
                <a:pt x="1429036" y="144879"/>
              </a:lnTo>
              <a:lnTo>
                <a:pt x="1429036" y="289759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A05B53B4-2A27-41B6-8688-47FEC1AACF37}" type="sibTrans" cxnId="{C2B67B6A-5EAB-409F-8DDD-2B8479DEE8C7}">
      <dgm:prSet/>
      <dgm:spPr>
        <a:xfrm>
          <a:off x="2188223" y="5367590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7241ACF9-0DFA-4479-A202-D9578BFF170B}">
      <dgm:prSet phldrT="[Text]" custT="1"/>
      <dgm:spPr>
        <a:xfrm>
          <a:off x="5562968" y="3042926"/>
          <a:ext cx="1199239" cy="620913"/>
        </a:xfrm>
        <a:prstGeom prst="parallelogram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91440"/>
        <a:lstStyle/>
        <a:p>
          <a:r>
            <a:rPr lang="en-US" sz="800" b="1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JustDrive</a:t>
          </a:r>
          <a:endParaRPr lang="en-US" sz="800" b="1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95F7E176-746C-4DA8-B957-B41B55AF94D9}" type="parTrans" cxnId="{6D1CB6B2-AAA3-429F-A5A9-E3E3566229B5}">
      <dgm:prSet/>
      <dgm:spPr>
        <a:xfrm>
          <a:off x="6162588" y="2752912"/>
          <a:ext cx="2473346" cy="290013"/>
        </a:xfrm>
        <a:custGeom>
          <a:avLst/>
          <a:gdLst/>
          <a:ahLst/>
          <a:cxnLst/>
          <a:rect l="0" t="0" r="0" b="0"/>
          <a:pathLst>
            <a:path>
              <a:moveTo>
                <a:pt x="2473346" y="0"/>
              </a:moveTo>
              <a:lnTo>
                <a:pt x="2473346" y="145134"/>
              </a:lnTo>
              <a:lnTo>
                <a:pt x="0" y="145134"/>
              </a:lnTo>
              <a:lnTo>
                <a:pt x="0" y="29001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6295108A-E628-4005-8540-AA5DC5BE06F2}" type="sibTrans" cxnId="{6D1CB6B2-AAA3-429F-A5A9-E3E3566229B5}">
      <dgm:prSet/>
      <dgm:spPr>
        <a:xfrm>
          <a:off x="2311468" y="5410077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03142A97-D197-4BF6-9B90-0A874066453A}">
      <dgm:prSet custT="1"/>
      <dgm:spPr>
        <a:xfrm>
          <a:off x="4764119" y="401653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6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WaypointFollower</a:t>
          </a:r>
          <a:endParaRPr lang="en-US" sz="6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velocity2</a:t>
          </a: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2 at velocity2 along the road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87AB9070-E6D9-4606-B74C-C27F19816E44}" type="parTrans" cxnId="{A0F5044D-12BD-4B3A-B8BB-FE50D06FCFEE}">
      <dgm:prSet/>
      <dgm:spPr>
        <a:xfrm>
          <a:off x="5363739" y="3663839"/>
          <a:ext cx="798848" cy="352695"/>
        </a:xfrm>
        <a:custGeom>
          <a:avLst/>
          <a:gdLst/>
          <a:ahLst/>
          <a:cxnLst/>
          <a:rect l="0" t="0" r="0" b="0"/>
          <a:pathLst>
            <a:path>
              <a:moveTo>
                <a:pt x="798848" y="0"/>
              </a:moveTo>
              <a:lnTo>
                <a:pt x="798848" y="207816"/>
              </a:lnTo>
              <a:lnTo>
                <a:pt x="0" y="207816"/>
              </a:lnTo>
              <a:lnTo>
                <a:pt x="0" y="352695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D5329C76-1759-4ECA-BEF6-004B314539D8}" type="sibTrans" cxnId="{A0F5044D-12BD-4B3A-B8BB-FE50D06FCFEE}">
      <dgm:prSet/>
      <dgm:spPr>
        <a:xfrm>
          <a:off x="2310567" y="5392212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94EB1531-6523-4952-BEBF-5162BB774894}">
      <dgm:prSet custT="1"/>
      <dgm:spPr>
        <a:xfrm>
          <a:off x="6368233" y="4019118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182880"/>
        <a:lstStyle/>
        <a:p>
          <a:r>
            <a:rPr lang="en-US" sz="600" b="1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TriggerDistanceToVehicle</a:t>
          </a:r>
          <a:endParaRPr lang="en-US" sz="600" b="1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hicle2, </a:t>
          </a:r>
          <a:r>
            <a:rPr lang="en-US" sz="6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6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6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EF456023-0983-4D25-856B-83925CC487EA}" type="parTrans" cxnId="{68BF140F-0137-488C-86DF-FA9D5352FE58}">
      <dgm:prSet/>
      <dgm:spPr>
        <a:xfrm>
          <a:off x="6162588" y="3663839"/>
          <a:ext cx="805264" cy="3552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0399"/>
              </a:lnTo>
              <a:lnTo>
                <a:pt x="805264" y="210399"/>
              </a:lnTo>
              <a:lnTo>
                <a:pt x="805264" y="355278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43B0248E-E674-4073-A0A6-705755202DC4}" type="sibTrans" cxnId="{68BF140F-0137-488C-86DF-FA9D5352FE58}">
      <dgm:prSet/>
      <dgm:spPr>
        <a:xfrm>
          <a:off x="2256945" y="5567703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9101451A-F006-4314-A8C4-33B39C63A29D}">
      <dgm:prSet custT="1"/>
      <dgm:spPr>
        <a:xfrm>
          <a:off x="7171891" y="3042926"/>
          <a:ext cx="1199239" cy="620913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5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AccelerateToCatchUp</a:t>
          </a:r>
          <a:endParaRPr lang="en-US" sz="5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hicle2, </a:t>
          </a:r>
          <a:r>
            <a:rPr lang="en-US" sz="5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, </a:t>
          </a:r>
          <a:r>
            <a:rPr lang="en-US" sz="5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elta_velocity</a:t>
          </a:r>
          <a:endParaRPr lang="en-US" sz="5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5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93E7D789-BE7F-427C-9DFC-7890C67EBE45}" type="parTrans" cxnId="{17CDD84A-E899-497B-B5B2-7B86A86700A8}">
      <dgm:prSet/>
      <dgm:spPr>
        <a:xfrm>
          <a:off x="7771511" y="2752912"/>
          <a:ext cx="864423" cy="290013"/>
        </a:xfrm>
        <a:custGeom>
          <a:avLst/>
          <a:gdLst/>
          <a:ahLst/>
          <a:cxnLst/>
          <a:rect l="0" t="0" r="0" b="0"/>
          <a:pathLst>
            <a:path>
              <a:moveTo>
                <a:pt x="864423" y="0"/>
              </a:moveTo>
              <a:lnTo>
                <a:pt x="864423" y="145134"/>
              </a:lnTo>
              <a:lnTo>
                <a:pt x="0" y="145134"/>
              </a:lnTo>
              <a:lnTo>
                <a:pt x="0" y="29001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5FDD30C7-3F1D-48BA-AF3D-0CD488D13A2E}" type="sibTrans" cxnId="{17CDD84A-E899-497B-B5B2-7B86A86700A8}">
      <dgm:prSet/>
      <dgm:spPr>
        <a:xfrm>
          <a:off x="1805267" y="5465496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AA6CD443-86FF-4183-BB55-4C128552DFC0}">
      <dgm:prSet custT="1"/>
      <dgm:spPr>
        <a:xfrm>
          <a:off x="8786426" y="3036872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6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keep_drive</a:t>
          </a:r>
          <a:endParaRPr lang="en-US" sz="6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rives the target vehicle at a defined speed until it reaches a defined distance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E55065D0-1BE9-417C-8B1F-A35AF4D3C1E8}" type="parTrans" cxnId="{7253C2B5-1C5E-4CEC-B2F6-D5CA03849EA0}">
      <dgm:prSet/>
      <dgm:spPr>
        <a:xfrm>
          <a:off x="8635934" y="2752912"/>
          <a:ext cx="750111" cy="2839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9080"/>
              </a:lnTo>
              <a:lnTo>
                <a:pt x="750111" y="139080"/>
              </a:lnTo>
              <a:lnTo>
                <a:pt x="750111" y="283960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5856B657-D8F6-4AE8-9A85-9D2CB091D033}" type="sibTrans" cxnId="{7253C2B5-1C5E-4CEC-B2F6-D5CA03849EA0}">
      <dgm:prSet/>
      <dgm:spPr>
        <a:xfrm>
          <a:off x="2601389" y="5548624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0873A161-31E9-41DF-AE3D-71B585911B56}">
      <dgm:prSet custT="1"/>
      <dgm:spPr>
        <a:xfrm>
          <a:off x="7981965" y="401653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6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WaypointFollower</a:t>
          </a:r>
          <a:endParaRPr lang="en-US" sz="6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velocity2</a:t>
          </a: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2 at velocity2 along the road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8BDCC07F-8A1A-4B56-952E-6A04294A7B19}" type="parTrans" cxnId="{FDC6E31C-4A7B-4CB4-BCB9-D3DBB5A5B428}">
      <dgm:prSet/>
      <dgm:spPr>
        <a:xfrm>
          <a:off x="8581584" y="3657786"/>
          <a:ext cx="804461" cy="358749"/>
        </a:xfrm>
        <a:custGeom>
          <a:avLst/>
          <a:gdLst/>
          <a:ahLst/>
          <a:cxnLst/>
          <a:rect l="0" t="0" r="0" b="0"/>
          <a:pathLst>
            <a:path>
              <a:moveTo>
                <a:pt x="804461" y="0"/>
              </a:moveTo>
              <a:lnTo>
                <a:pt x="804461" y="213870"/>
              </a:lnTo>
              <a:lnTo>
                <a:pt x="0" y="213870"/>
              </a:lnTo>
              <a:lnTo>
                <a:pt x="0" y="358749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A3B6FC96-0BB7-403C-8C37-30AFFF157AC3}" type="sibTrans" cxnId="{FDC6E31C-4A7B-4CB4-BCB9-D3DBB5A5B428}">
      <dgm:prSet/>
      <dgm:spPr>
        <a:xfrm>
          <a:off x="2175617" y="5272140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D2F46840-79E4-4EAA-BEE6-C3E39AB2C3BB}">
      <dgm:prSet custT="1"/>
      <dgm:spPr>
        <a:xfrm>
          <a:off x="9585275" y="4022589"/>
          <a:ext cx="1199239" cy="620913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5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InTriggerDistanceToLocation</a:t>
          </a:r>
          <a:endParaRPr lang="en-US" sz="5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</a:t>
          </a:r>
          <a:r>
            <a:rPr lang="en-US" sz="5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target_location</a:t>
          </a:r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, </a:t>
          </a:r>
          <a:r>
            <a:rPr lang="en-US" sz="5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r>
            <a:rPr lang="en-US" sz="5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5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1DC2697E-382C-4701-9BB8-6B11637AAE03}" type="parTrans" cxnId="{1C8306AA-2C26-461B-88EF-4617E9B06FAF}">
      <dgm:prSet/>
      <dgm:spPr>
        <a:xfrm>
          <a:off x="9386046" y="3657786"/>
          <a:ext cx="798848" cy="3648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923"/>
              </a:lnTo>
              <a:lnTo>
                <a:pt x="798848" y="219923"/>
              </a:lnTo>
              <a:lnTo>
                <a:pt x="798848" y="36480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1D620FAD-941E-4163-8400-98E41742243C}" type="sibTrans" cxnId="{1C8306AA-2C26-461B-88EF-4617E9B06FAF}">
      <dgm:prSet/>
      <dgm:spPr>
        <a:xfrm>
          <a:off x="2029637" y="5503049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BB125099-03BB-4DCA-8D5D-5918399D3207}">
      <dgm:prSet custT="1"/>
      <dgm:spPr>
        <a:xfrm>
          <a:off x="10390540" y="303945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182880"/>
        <a:lstStyle/>
        <a:p>
          <a:r>
            <a:rPr lang="en-US" sz="6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opVehicle</a:t>
          </a:r>
          <a:endParaRPr lang="en-US" sz="600" b="1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</a:t>
          </a:r>
          <a:r>
            <a:rPr lang="en-US" sz="6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max_brake</a:t>
          </a:r>
          <a:endParaRPr lang="en-US" sz="6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</a:t>
          </a:r>
          <a:r>
            <a:rPr lang="en-US" sz="60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 the actor stopped moving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E856E615-0503-4B0E-960E-31630859AFF1}" type="parTrans" cxnId="{7916263A-3833-4073-8A51-474B84AFBE8B}">
      <dgm:prSet/>
      <dgm:spPr>
        <a:xfrm>
          <a:off x="8635934" y="2752912"/>
          <a:ext cx="2354225" cy="2865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1663"/>
              </a:lnTo>
              <a:lnTo>
                <a:pt x="2354225" y="141663"/>
              </a:lnTo>
              <a:lnTo>
                <a:pt x="2354225" y="28654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17A93FD6-5202-4059-B5E7-5C74F69F5E6D}" type="sibTrans" cxnId="{7916263A-3833-4073-8A51-474B84AFBE8B}">
      <dgm:prSet/>
      <dgm:spPr>
        <a:xfrm>
          <a:off x="2279913" y="5604040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0E726395-197B-48A1-A35C-21C1591EBDD4}">
      <dgm:prSet phldrT="[Text]" custT="1"/>
      <dgm:spPr>
        <a:xfrm>
          <a:off x="2525008" y="2132254"/>
          <a:ext cx="1199239" cy="620913"/>
        </a:xfrm>
        <a:prstGeom prst="parallelogram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tIns="91440"/>
        <a:lstStyle/>
        <a:p>
          <a:pPr algn="ctr"/>
          <a:r>
            <a:rPr lang="en-US" sz="1000" b="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Leading actor behavior</a:t>
          </a:r>
        </a:p>
      </dgm:t>
    </dgm:pt>
    <dgm:pt modelId="{AC164A7B-ECC3-4576-A254-0D6EB2558868}" type="sibTrans" cxnId="{02A314A4-2D95-4E9E-ABBD-54AF1890E187}">
      <dgm:prSet custT="1"/>
      <dgm:spPr>
        <a:xfrm>
          <a:off x="3300958" y="2715116"/>
          <a:ext cx="7112" cy="711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DBF1D4F2-5C65-4C86-AADD-060D2B9F0056}" type="parTrans" cxnId="{02A314A4-2D95-4E9E-ABBD-54AF1890E187}">
      <dgm:prSet/>
      <dgm:spPr>
        <a:xfrm>
          <a:off x="3124628" y="1842494"/>
          <a:ext cx="2755652" cy="289759"/>
        </a:xfrm>
        <a:custGeom>
          <a:avLst/>
          <a:gdLst/>
          <a:ahLst/>
          <a:cxnLst/>
          <a:rect l="0" t="0" r="0" b="0"/>
          <a:pathLst>
            <a:path>
              <a:moveTo>
                <a:pt x="2755652" y="0"/>
              </a:moveTo>
              <a:lnTo>
                <a:pt x="2755652" y="144879"/>
              </a:lnTo>
              <a:lnTo>
                <a:pt x="0" y="144879"/>
              </a:lnTo>
              <a:lnTo>
                <a:pt x="0" y="289759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30603F37-3793-401C-B9B5-610896547ED5}">
      <dgm:prSet custT="1"/>
      <dgm:spPr>
        <a:xfrm>
          <a:off x="117237" y="394754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6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WaypointFollower</a:t>
          </a:r>
          <a:endParaRPr lang="en-US" sz="6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locity1</a:t>
          </a:r>
        </a:p>
        <a:p>
          <a:r>
            <a:rPr lang="en-US" sz="6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1 at velocity1 along the road</a:t>
          </a:r>
          <a:endParaRPr lang="en-US" sz="6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3F891970-117D-4B85-A549-FA4B8F7B4743}" type="sibTrans" cxnId="{997CF8DE-ECF5-4816-A461-C10F212B84CA}">
      <dgm:prSet/>
      <dgm:spPr>
        <a:xfrm>
          <a:off x="2226459" y="5350931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D454304E-C3FF-461B-9298-9D8349D7BC10}" type="parTrans" cxnId="{997CF8DE-ECF5-4816-A461-C10F212B84CA}">
      <dgm:prSet/>
      <dgm:spPr>
        <a:xfrm>
          <a:off x="716856" y="3657786"/>
          <a:ext cx="864423" cy="289759"/>
        </a:xfrm>
        <a:custGeom>
          <a:avLst/>
          <a:gdLst/>
          <a:ahLst/>
          <a:cxnLst/>
          <a:rect l="0" t="0" r="0" b="0"/>
          <a:pathLst>
            <a:path>
              <a:moveTo>
                <a:pt x="864423" y="0"/>
              </a:moveTo>
              <a:lnTo>
                <a:pt x="864423" y="144879"/>
              </a:lnTo>
              <a:lnTo>
                <a:pt x="0" y="144879"/>
              </a:lnTo>
              <a:lnTo>
                <a:pt x="0" y="289759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BE093903-DDA2-4A30-8F36-4515467E730B}">
      <dgm:prSet custT="1"/>
      <dgm:spPr>
        <a:xfrm>
          <a:off x="981660" y="3036872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en-US" sz="800" b="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keep_velocity</a:t>
          </a:r>
          <a:endParaRPr lang="en-US" sz="900" b="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</dgm:t>
    </dgm:pt>
    <dgm:pt modelId="{04B687DE-26E9-4D8C-88DA-A0328511E504}" type="sibTrans" cxnId="{57214E58-78C0-468A-AFDC-DD82011FA6BA}">
      <dgm:prSet custT="1"/>
      <dgm:spPr>
        <a:xfrm>
          <a:off x="1752024" y="3625816"/>
          <a:ext cx="7058" cy="7055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6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gm:t>
    </dgm:pt>
    <dgm:pt modelId="{B930FA56-DDD5-4DB9-936F-9A487715D881}" type="parTrans" cxnId="{57214E58-78C0-468A-AFDC-DD82011FA6BA}">
      <dgm:prSet/>
      <dgm:spPr>
        <a:xfrm>
          <a:off x="1581280" y="2753167"/>
          <a:ext cx="1543348" cy="283705"/>
        </a:xfrm>
        <a:custGeom>
          <a:avLst/>
          <a:gdLst/>
          <a:ahLst/>
          <a:cxnLst/>
          <a:rect l="0" t="0" r="0" b="0"/>
          <a:pathLst>
            <a:path>
              <a:moveTo>
                <a:pt x="1543348" y="0"/>
              </a:moveTo>
              <a:lnTo>
                <a:pt x="1543348" y="138825"/>
              </a:lnTo>
              <a:lnTo>
                <a:pt x="0" y="138825"/>
              </a:lnTo>
              <a:lnTo>
                <a:pt x="0" y="283705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2000"/>
        </a:p>
      </dgm:t>
    </dgm:pt>
    <dgm:pt modelId="{845E6649-DB73-4C3B-A81F-DCD945F5C92F}" type="pres">
      <dgm:prSet presAssocID="{F4A67678-D96D-4FA4-ABB5-78A5D2EE565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EFBEEAA-F5F3-4095-8F4A-8163865279F8}" type="pres">
      <dgm:prSet presAssocID="{8B05B13D-4FD5-478C-8397-278E05A8B3A4}" presName="hierRoot1" presStyleCnt="0">
        <dgm:presLayoutVars>
          <dgm:hierBranch val="init"/>
        </dgm:presLayoutVars>
      </dgm:prSet>
      <dgm:spPr/>
    </dgm:pt>
    <dgm:pt modelId="{32E03310-8D03-475D-AD06-0E715F35FCF7}" type="pres">
      <dgm:prSet presAssocID="{8B05B13D-4FD5-478C-8397-278E05A8B3A4}" presName="rootComposite1" presStyleCnt="0"/>
      <dgm:spPr/>
    </dgm:pt>
    <dgm:pt modelId="{34CFB2D3-86FD-4120-B3DD-8F35B1C582AF}" type="pres">
      <dgm:prSet presAssocID="{8B05B13D-4FD5-478C-8397-278E05A8B3A4}" presName="rootText1" presStyleLbl="node0" presStyleIdx="0" presStyleCnt="1" custScaleX="110736">
        <dgm:presLayoutVars>
          <dgm:chMax/>
          <dgm:chPref val="3"/>
        </dgm:presLayoutVars>
      </dgm:prSet>
      <dgm:spPr>
        <a:prstGeom prst="parallelogram">
          <a:avLst/>
        </a:prstGeom>
      </dgm:spPr>
      <dgm:t>
        <a:bodyPr/>
        <a:lstStyle/>
        <a:p>
          <a:endParaRPr lang="en-US"/>
        </a:p>
      </dgm:t>
    </dgm:pt>
    <dgm:pt modelId="{74E3AC88-DD94-4480-87AE-C92D37D2DD55}" type="pres">
      <dgm:prSet presAssocID="{8B05B13D-4FD5-478C-8397-278E05A8B3A4}" presName="titleText1" presStyleLbl="fgAcc0" presStyleIdx="0" presStyleCnt="1" custScaleX="739" custScaleY="3852" custLinFactNeighborX="-65981" custLinFactNeighborY="-3659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4B5C61F-5036-456C-A892-8863C0FF7F21}" type="pres">
      <dgm:prSet presAssocID="{8B05B13D-4FD5-478C-8397-278E05A8B3A4}" presName="rootConnector1" presStyleLbl="node1" presStyleIdx="0" presStyleCnt="15"/>
      <dgm:spPr/>
      <dgm:t>
        <a:bodyPr/>
        <a:lstStyle/>
        <a:p>
          <a:endParaRPr lang="en-US"/>
        </a:p>
      </dgm:t>
    </dgm:pt>
    <dgm:pt modelId="{12FF31B3-25B8-4ADC-A489-25E8DBE717CC}" type="pres">
      <dgm:prSet presAssocID="{8B05B13D-4FD5-478C-8397-278E05A8B3A4}" presName="hierChild2" presStyleCnt="0"/>
      <dgm:spPr/>
    </dgm:pt>
    <dgm:pt modelId="{87D669C7-970D-45AA-B46C-09FE715E5B0B}" type="pres">
      <dgm:prSet presAssocID="{DBF1D4F2-5C65-4C86-AADD-060D2B9F0056}" presName="Name37" presStyleLbl="parChTrans1D2" presStyleIdx="0" presStyleCnt="2"/>
      <dgm:spPr/>
      <dgm:t>
        <a:bodyPr/>
        <a:lstStyle/>
        <a:p>
          <a:endParaRPr lang="en-US"/>
        </a:p>
      </dgm:t>
    </dgm:pt>
    <dgm:pt modelId="{A4542736-D2F7-4122-9F09-10505CA4DAF7}" type="pres">
      <dgm:prSet presAssocID="{0E726395-197B-48A1-A35C-21C1591EBDD4}" presName="hierRoot2" presStyleCnt="0">
        <dgm:presLayoutVars>
          <dgm:hierBranch val="init"/>
        </dgm:presLayoutVars>
      </dgm:prSet>
      <dgm:spPr/>
    </dgm:pt>
    <dgm:pt modelId="{3D0FABB7-B904-488E-8F4D-E14A1E2AE9EE}" type="pres">
      <dgm:prSet presAssocID="{0E726395-197B-48A1-A35C-21C1591EBDD4}" presName="rootComposite" presStyleCnt="0"/>
      <dgm:spPr/>
    </dgm:pt>
    <dgm:pt modelId="{8EE35D8B-BEB4-45A9-B5AF-E76DC893500D}" type="pres">
      <dgm:prSet presAssocID="{0E726395-197B-48A1-A35C-21C1591EBDD4}" presName="rootText" presStyleLbl="node1" presStyleIdx="0" presStyleCnt="15">
        <dgm:presLayoutVars>
          <dgm:chMax/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20B44729-766A-48D7-87ED-AD75AF456AA8}" type="pres">
      <dgm:prSet presAssocID="{0E726395-197B-48A1-A35C-21C1591EBDD4}" presName="titleText2" presStyleLbl="fgAcc1" presStyleIdx="0" presStyleCnt="15" custScaleX="659" custScaleY="3436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0F29F473-C0C5-4D9F-8222-B10E26715CF2}" type="pres">
      <dgm:prSet presAssocID="{0E726395-197B-48A1-A35C-21C1591EBDD4}" presName="rootConnector" presStyleLbl="node2" presStyleIdx="0" presStyleCnt="0"/>
      <dgm:spPr/>
      <dgm:t>
        <a:bodyPr/>
        <a:lstStyle/>
        <a:p>
          <a:endParaRPr lang="en-US"/>
        </a:p>
      </dgm:t>
    </dgm:pt>
    <dgm:pt modelId="{E4C74A03-F752-4785-A738-2DA8CF8B87F3}" type="pres">
      <dgm:prSet presAssocID="{0E726395-197B-48A1-A35C-21C1591EBDD4}" presName="hierChild4" presStyleCnt="0"/>
      <dgm:spPr/>
    </dgm:pt>
    <dgm:pt modelId="{20BA6823-96A8-45AE-A0BD-0E4D2CBAF337}" type="pres">
      <dgm:prSet presAssocID="{B930FA56-DDD5-4DB9-936F-9A487715D881}" presName="Name37" presStyleLbl="parChTrans1D3" presStyleIdx="0" presStyleCnt="7"/>
      <dgm:spPr/>
      <dgm:t>
        <a:bodyPr/>
        <a:lstStyle/>
        <a:p>
          <a:endParaRPr lang="en-US"/>
        </a:p>
      </dgm:t>
    </dgm:pt>
    <dgm:pt modelId="{770AD1CE-186B-41EB-822A-2757C704324F}" type="pres">
      <dgm:prSet presAssocID="{BE093903-DDA2-4A30-8F36-4515467E730B}" presName="hierRoot2" presStyleCnt="0">
        <dgm:presLayoutVars>
          <dgm:hierBranch val="init"/>
        </dgm:presLayoutVars>
      </dgm:prSet>
      <dgm:spPr/>
    </dgm:pt>
    <dgm:pt modelId="{98C8BEF4-2BC8-4876-8B77-4D6CF38175FF}" type="pres">
      <dgm:prSet presAssocID="{BE093903-DDA2-4A30-8F36-4515467E730B}" presName="rootComposite" presStyleCnt="0"/>
      <dgm:spPr/>
    </dgm:pt>
    <dgm:pt modelId="{BC8B3DF1-562F-4D1A-A638-8282CCC686DE}" type="pres">
      <dgm:prSet presAssocID="{BE093903-DDA2-4A30-8F36-4515467E730B}" presName="rootText" presStyleLbl="node1" presStyleIdx="1" presStyleCnt="15" custLinFactNeighborX="468" custLinFactNeighborY="-975">
        <dgm:presLayoutVars>
          <dgm:chMax/>
          <dgm:chPref val="3"/>
        </dgm:presLayoutVars>
      </dgm:prSet>
      <dgm:spPr>
        <a:prstGeom prst="parallelogram">
          <a:avLst/>
        </a:prstGeom>
      </dgm:spPr>
      <dgm:t>
        <a:bodyPr/>
        <a:lstStyle/>
        <a:p>
          <a:endParaRPr lang="en-US"/>
        </a:p>
      </dgm:t>
    </dgm:pt>
    <dgm:pt modelId="{80165394-711B-43B1-BC7E-B954EBD4D7EB}" type="pres">
      <dgm:prSet presAssocID="{BE093903-DDA2-4A30-8F36-4515467E730B}" presName="titleText2" presStyleLbl="fgAcc1" presStyleIdx="1" presStyleCnt="15" custScaleX="654" custScaleY="3409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E2B1AB8-3E93-4700-858B-588DE4A970B9}" type="pres">
      <dgm:prSet presAssocID="{BE093903-DDA2-4A30-8F36-4515467E730B}" presName="rootConnector" presStyleLbl="node3" presStyleIdx="0" presStyleCnt="0"/>
      <dgm:spPr/>
      <dgm:t>
        <a:bodyPr/>
        <a:lstStyle/>
        <a:p>
          <a:endParaRPr lang="en-US"/>
        </a:p>
      </dgm:t>
    </dgm:pt>
    <dgm:pt modelId="{ADBAC5B6-1D83-4BCF-8290-562B9FFE103A}" type="pres">
      <dgm:prSet presAssocID="{BE093903-DDA2-4A30-8F36-4515467E730B}" presName="hierChild4" presStyleCnt="0"/>
      <dgm:spPr/>
    </dgm:pt>
    <dgm:pt modelId="{37A1A95A-CEA6-414A-98E2-8B7AE16094D2}" type="pres">
      <dgm:prSet presAssocID="{D454304E-C3FF-461B-9298-9D8349D7BC10}" presName="Name37" presStyleLbl="parChTrans1D4" presStyleIdx="0" presStyleCnt="6"/>
      <dgm:spPr/>
      <dgm:t>
        <a:bodyPr/>
        <a:lstStyle/>
        <a:p>
          <a:endParaRPr lang="en-US"/>
        </a:p>
      </dgm:t>
    </dgm:pt>
    <dgm:pt modelId="{F86D6D0E-A154-4E4E-A851-D49DF064B5A7}" type="pres">
      <dgm:prSet presAssocID="{30603F37-3793-401C-B9B5-610896547ED5}" presName="hierRoot2" presStyleCnt="0">
        <dgm:presLayoutVars>
          <dgm:hierBranch val="init"/>
        </dgm:presLayoutVars>
      </dgm:prSet>
      <dgm:spPr/>
    </dgm:pt>
    <dgm:pt modelId="{133FBBF8-9580-4270-B537-AE3E604F35CA}" type="pres">
      <dgm:prSet presAssocID="{30603F37-3793-401C-B9B5-610896547ED5}" presName="rootComposite" presStyleCnt="0"/>
      <dgm:spPr/>
    </dgm:pt>
    <dgm:pt modelId="{81A3CB1B-8E65-4473-8FD5-29E36E5FFC61}" type="pres">
      <dgm:prSet presAssocID="{30603F37-3793-401C-B9B5-610896547ED5}" presName="rootText" presStyleLbl="node1" presStyleIdx="2" presStyleCnt="15" custLinFactNeighborX="468" custLinFactNeighborY="-97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31640F8C-1863-4DA0-9E98-7F498141E3ED}" type="pres">
      <dgm:prSet presAssocID="{30603F37-3793-401C-B9B5-610896547ED5}" presName="titleText2" presStyleLbl="fgAcc1" presStyleIdx="2" presStyleCnt="15" custLinFactX="73720" custLinFactY="200000" custLinFactNeighborX="100000" custLinFactNeighborY="24180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25AEBD71-E2C9-4DAA-823A-5D896F7FEB06}" type="pres">
      <dgm:prSet presAssocID="{30603F37-3793-401C-B9B5-610896547ED5}" presName="rootConnector" presStyleLbl="node4" presStyleIdx="0" presStyleCnt="0"/>
      <dgm:spPr/>
      <dgm:t>
        <a:bodyPr/>
        <a:lstStyle/>
        <a:p>
          <a:endParaRPr lang="en-US"/>
        </a:p>
      </dgm:t>
    </dgm:pt>
    <dgm:pt modelId="{80B630F7-981D-4C94-A5E5-BBA1B829ACBF}" type="pres">
      <dgm:prSet presAssocID="{30603F37-3793-401C-B9B5-610896547ED5}" presName="hierChild4" presStyleCnt="0"/>
      <dgm:spPr/>
    </dgm:pt>
    <dgm:pt modelId="{5EF3537A-F8C9-49D5-9836-756B97AA905C}" type="pres">
      <dgm:prSet presAssocID="{30603F37-3793-401C-B9B5-610896547ED5}" presName="hierChild5" presStyleCnt="0"/>
      <dgm:spPr/>
    </dgm:pt>
    <dgm:pt modelId="{87445495-B0AD-4C1D-A4F3-2B7EFD674F9E}" type="pres">
      <dgm:prSet presAssocID="{2FA38BBE-A3C8-49E2-9F47-6C8AEDFE4E79}" presName="Name37" presStyleLbl="parChTrans1D4" presStyleIdx="1" presStyleCnt="6"/>
      <dgm:spPr/>
      <dgm:t>
        <a:bodyPr/>
        <a:lstStyle/>
        <a:p>
          <a:endParaRPr lang="en-US"/>
        </a:p>
      </dgm:t>
    </dgm:pt>
    <dgm:pt modelId="{0DCA9792-955E-4218-A9A3-DFE3BBFD0ACA}" type="pres">
      <dgm:prSet presAssocID="{1874289D-BBB9-4735-A7BD-C613BBDD9B5E}" presName="hierRoot2" presStyleCnt="0">
        <dgm:presLayoutVars>
          <dgm:hierBranch val="init"/>
        </dgm:presLayoutVars>
      </dgm:prSet>
      <dgm:spPr/>
    </dgm:pt>
    <dgm:pt modelId="{CAF3C0DA-F2C5-4778-8774-C18E64D61074}" type="pres">
      <dgm:prSet presAssocID="{1874289D-BBB9-4735-A7BD-C613BBDD9B5E}" presName="rootComposite" presStyleCnt="0"/>
      <dgm:spPr/>
    </dgm:pt>
    <dgm:pt modelId="{A7950F15-6581-4274-AC25-076E2946EE98}" type="pres">
      <dgm:prSet presAssocID="{1874289D-BBB9-4735-A7BD-C613BBDD9B5E}" presName="rootText" presStyleLbl="node1" presStyleIdx="3" presStyleCnt="1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8DD2BD33-E22E-4BED-9838-CB08DFF98A41}" type="pres">
      <dgm:prSet presAssocID="{1874289D-BBB9-4735-A7BD-C613BBDD9B5E}" presName="titleText2" presStyleLbl="fgAcc1" presStyleIdx="3" presStyleCnt="15" custLinFactY="200000" custLinFactNeighborX="23961" custLinFactNeighborY="24180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E3971792-2282-4521-8548-5DA284ED322B}" type="pres">
      <dgm:prSet presAssocID="{1874289D-BBB9-4735-A7BD-C613BBDD9B5E}" presName="rootConnector" presStyleLbl="node4" presStyleIdx="0" presStyleCnt="0"/>
      <dgm:spPr/>
      <dgm:t>
        <a:bodyPr/>
        <a:lstStyle/>
        <a:p>
          <a:endParaRPr lang="en-US"/>
        </a:p>
      </dgm:t>
    </dgm:pt>
    <dgm:pt modelId="{4F85D489-50F3-458E-B4F0-FBB17E06CF7F}" type="pres">
      <dgm:prSet presAssocID="{1874289D-BBB9-4735-A7BD-C613BBDD9B5E}" presName="hierChild4" presStyleCnt="0"/>
      <dgm:spPr/>
    </dgm:pt>
    <dgm:pt modelId="{A4DB2A69-D4BE-42C1-B912-5EFE99858C7D}" type="pres">
      <dgm:prSet presAssocID="{1874289D-BBB9-4735-A7BD-C613BBDD9B5E}" presName="hierChild5" presStyleCnt="0"/>
      <dgm:spPr/>
    </dgm:pt>
    <dgm:pt modelId="{4A0FC913-E770-4B86-B79C-5AA8F3C4525F}" type="pres">
      <dgm:prSet presAssocID="{BE093903-DDA2-4A30-8F36-4515467E730B}" presName="hierChild5" presStyleCnt="0"/>
      <dgm:spPr/>
    </dgm:pt>
    <dgm:pt modelId="{E97BA162-AE90-42AB-986C-E34DA9A1FD31}" type="pres">
      <dgm:prSet presAssocID="{556F4279-4E5B-4B16-B3B8-92C59A3C2A22}" presName="Name37" presStyleLbl="parChTrans1D3" presStyleIdx="1" presStyleCnt="7"/>
      <dgm:spPr/>
      <dgm:t>
        <a:bodyPr/>
        <a:lstStyle/>
        <a:p>
          <a:endParaRPr lang="en-US"/>
        </a:p>
      </dgm:t>
    </dgm:pt>
    <dgm:pt modelId="{86981327-8A1F-4231-8462-3AD56F26309B}" type="pres">
      <dgm:prSet presAssocID="{D0501EE9-93F7-48A0-82EC-D0C2559D71B9}" presName="hierRoot2" presStyleCnt="0">
        <dgm:presLayoutVars>
          <dgm:hierBranch val="init"/>
        </dgm:presLayoutVars>
      </dgm:prSet>
      <dgm:spPr/>
    </dgm:pt>
    <dgm:pt modelId="{23B51CD9-AFD7-4D7C-B85F-CE7151F4300B}" type="pres">
      <dgm:prSet presAssocID="{D0501EE9-93F7-48A0-82EC-D0C2559D71B9}" presName="rootComposite" presStyleCnt="0"/>
      <dgm:spPr/>
    </dgm:pt>
    <dgm:pt modelId="{549BA040-41D3-4A01-878C-659819A8120D}" type="pres">
      <dgm:prSet presAssocID="{D0501EE9-93F7-48A0-82EC-D0C2559D71B9}" presName="rootText" presStyleLbl="node1" presStyleIdx="4" presStyleCnt="15" custLinFactNeighborX="11925" custLinFactNeighborY="-559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CA9CF75D-F408-4230-9630-73DA2735594D}" type="pres">
      <dgm:prSet presAssocID="{D0501EE9-93F7-48A0-82EC-D0C2559D71B9}" presName="titleText2" presStyleLbl="fgAcc1" presStyleIdx="4" presStyleCnt="15" custScaleX="648" custScaleY="3378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0C8D85F-96F9-4466-9DF1-04837DC2DB29}" type="pres">
      <dgm:prSet presAssocID="{D0501EE9-93F7-48A0-82EC-D0C2559D71B9}" presName="rootConnector" presStyleLbl="node3" presStyleIdx="0" presStyleCnt="0"/>
      <dgm:spPr/>
      <dgm:t>
        <a:bodyPr/>
        <a:lstStyle/>
        <a:p>
          <a:endParaRPr lang="en-US"/>
        </a:p>
      </dgm:t>
    </dgm:pt>
    <dgm:pt modelId="{D21A30E6-DCC9-4FAB-96E2-43AB72FB6CB2}" type="pres">
      <dgm:prSet presAssocID="{D0501EE9-93F7-48A0-82EC-D0C2559D71B9}" presName="hierChild4" presStyleCnt="0"/>
      <dgm:spPr/>
    </dgm:pt>
    <dgm:pt modelId="{7C281B05-1501-4700-AA67-DDE633E54FA5}" type="pres">
      <dgm:prSet presAssocID="{D0501EE9-93F7-48A0-82EC-D0C2559D71B9}" presName="hierChild5" presStyleCnt="0"/>
      <dgm:spPr/>
    </dgm:pt>
    <dgm:pt modelId="{4FBF8BB0-1CDE-4C33-9019-A7E5597838AC}" type="pres">
      <dgm:prSet presAssocID="{F7C3CF15-5E0D-4665-882D-36D58CF12A60}" presName="Name37" presStyleLbl="parChTrans1D3" presStyleIdx="2" presStyleCnt="7"/>
      <dgm:spPr/>
      <dgm:t>
        <a:bodyPr/>
        <a:lstStyle/>
        <a:p>
          <a:endParaRPr lang="en-US"/>
        </a:p>
      </dgm:t>
    </dgm:pt>
    <dgm:pt modelId="{FF04B11F-40AE-443D-9B99-D7EC4BAB569E}" type="pres">
      <dgm:prSet presAssocID="{98D75CB2-5652-4BE1-8A32-E3C65B4D5D01}" presName="hierRoot2" presStyleCnt="0">
        <dgm:presLayoutVars>
          <dgm:hierBranch val="init"/>
        </dgm:presLayoutVars>
      </dgm:prSet>
      <dgm:spPr/>
    </dgm:pt>
    <dgm:pt modelId="{FA3A0DD2-5ADB-44A7-BBE4-6BB71DECA53D}" type="pres">
      <dgm:prSet presAssocID="{98D75CB2-5652-4BE1-8A32-E3C65B4D5D01}" presName="rootComposite" presStyleCnt="0"/>
      <dgm:spPr/>
    </dgm:pt>
    <dgm:pt modelId="{C8FF8BF7-F757-4140-9668-BE763F17D813}" type="pres">
      <dgm:prSet presAssocID="{98D75CB2-5652-4BE1-8A32-E3C65B4D5D01}" presName="rootText" presStyleLbl="node1" presStyleIdx="5" presStyleCnt="1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07BAC14D-A941-443C-831F-668E8DB2ED27}" type="pres">
      <dgm:prSet presAssocID="{98D75CB2-5652-4BE1-8A32-E3C65B4D5D01}" presName="titleText2" presStyleLbl="fgAcc1" presStyleIdx="5" presStyleCnt="15" custLinFactX="-85828" custLinFactY="400000" custLinFactNeighborX="-100000" custLinFactNeighborY="48985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E69B5A33-F06C-4416-9940-9B32584F510A}" type="pres">
      <dgm:prSet presAssocID="{98D75CB2-5652-4BE1-8A32-E3C65B4D5D01}" presName="rootConnector" presStyleLbl="node3" presStyleIdx="0" presStyleCnt="0"/>
      <dgm:spPr/>
      <dgm:t>
        <a:bodyPr/>
        <a:lstStyle/>
        <a:p>
          <a:endParaRPr lang="en-US"/>
        </a:p>
      </dgm:t>
    </dgm:pt>
    <dgm:pt modelId="{DC3DF9E7-3A9C-45E6-8062-4DAE4BFD3502}" type="pres">
      <dgm:prSet presAssocID="{98D75CB2-5652-4BE1-8A32-E3C65B4D5D01}" presName="hierChild4" presStyleCnt="0"/>
      <dgm:spPr/>
    </dgm:pt>
    <dgm:pt modelId="{A8032F30-7721-4D43-B285-63FE04CEB0C5}" type="pres">
      <dgm:prSet presAssocID="{98D75CB2-5652-4BE1-8A32-E3C65B4D5D01}" presName="hierChild5" presStyleCnt="0"/>
      <dgm:spPr/>
    </dgm:pt>
    <dgm:pt modelId="{4C7DEC89-F441-44F9-B805-33704B729EC7}" type="pres">
      <dgm:prSet presAssocID="{0E726395-197B-48A1-A35C-21C1591EBDD4}" presName="hierChild5" presStyleCnt="0"/>
      <dgm:spPr/>
    </dgm:pt>
    <dgm:pt modelId="{165BC65E-2DDD-4012-B9EC-32CD0A19D081}" type="pres">
      <dgm:prSet presAssocID="{75969326-2BEC-4BB0-8EF2-40DEFD6FCE01}" presName="Name37" presStyleLbl="parChTrans1D2" presStyleIdx="1" presStyleCnt="2"/>
      <dgm:spPr/>
      <dgm:t>
        <a:bodyPr/>
        <a:lstStyle/>
        <a:p>
          <a:endParaRPr lang="en-US"/>
        </a:p>
      </dgm:t>
    </dgm:pt>
    <dgm:pt modelId="{B2E6313B-F477-48A1-B50A-173CD4DEBFBF}" type="pres">
      <dgm:prSet presAssocID="{65A9B2C3-ED14-4F11-AD33-EA0D8EA1621B}" presName="hierRoot2" presStyleCnt="0">
        <dgm:presLayoutVars>
          <dgm:hierBranch val="init"/>
        </dgm:presLayoutVars>
      </dgm:prSet>
      <dgm:spPr/>
    </dgm:pt>
    <dgm:pt modelId="{54684387-4B41-45D0-91E7-DF48FF464787}" type="pres">
      <dgm:prSet presAssocID="{65A9B2C3-ED14-4F11-AD33-EA0D8EA1621B}" presName="rootComposite" presStyleCnt="0"/>
      <dgm:spPr/>
    </dgm:pt>
    <dgm:pt modelId="{C2C30035-9241-474B-AFC5-1CA1655D1A2F}" type="pres">
      <dgm:prSet presAssocID="{65A9B2C3-ED14-4F11-AD33-EA0D8EA1621B}" presName="rootText" presStyleLbl="node1" presStyleIdx="6" presStyleCnt="15" custLinFactNeighborY="-41">
        <dgm:presLayoutVars>
          <dgm:chMax/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56CC7125-0E29-4712-8D53-8DC56D42FF29}" type="pres">
      <dgm:prSet presAssocID="{65A9B2C3-ED14-4F11-AD33-EA0D8EA1621B}" presName="titleText2" presStyleLbl="fgAcc1" presStyleIdx="6" presStyleCnt="15" custScaleX="642" custScaleY="3347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6A148A87-7624-4BD6-9A9B-5644CC5C9443}" type="pres">
      <dgm:prSet presAssocID="{65A9B2C3-ED14-4F11-AD33-EA0D8EA1621B}" presName="rootConnector" presStyleLbl="node2" presStyleIdx="0" presStyleCnt="0"/>
      <dgm:spPr/>
      <dgm:t>
        <a:bodyPr/>
        <a:lstStyle/>
        <a:p>
          <a:endParaRPr lang="en-US"/>
        </a:p>
      </dgm:t>
    </dgm:pt>
    <dgm:pt modelId="{EAA5D3E8-9B94-42B5-9318-AC50F1360854}" type="pres">
      <dgm:prSet presAssocID="{65A9B2C3-ED14-4F11-AD33-EA0D8EA1621B}" presName="hierChild4" presStyleCnt="0"/>
      <dgm:spPr/>
    </dgm:pt>
    <dgm:pt modelId="{268D79AA-ED07-4BCD-93D4-B9B00BF3A02D}" type="pres">
      <dgm:prSet presAssocID="{95F7E176-746C-4DA8-B957-B41B55AF94D9}" presName="Name37" presStyleLbl="parChTrans1D3" presStyleIdx="3" presStyleCnt="7"/>
      <dgm:spPr/>
      <dgm:t>
        <a:bodyPr/>
        <a:lstStyle/>
        <a:p>
          <a:endParaRPr lang="en-US"/>
        </a:p>
      </dgm:t>
    </dgm:pt>
    <dgm:pt modelId="{18A86410-8240-4777-8D3B-1DF5823B565F}" type="pres">
      <dgm:prSet presAssocID="{7241ACF9-0DFA-4479-A202-D9578BFF170B}" presName="hierRoot2" presStyleCnt="0">
        <dgm:presLayoutVars>
          <dgm:hierBranch val="init"/>
        </dgm:presLayoutVars>
      </dgm:prSet>
      <dgm:spPr/>
    </dgm:pt>
    <dgm:pt modelId="{FD2059D1-F7A5-455B-B61A-52C4AC6B2890}" type="pres">
      <dgm:prSet presAssocID="{7241ACF9-0DFA-4479-A202-D9578BFF170B}" presName="rootComposite" presStyleCnt="0"/>
      <dgm:spPr/>
    </dgm:pt>
    <dgm:pt modelId="{A808A965-EC41-4DC7-92DB-57AD0ED6656A}" type="pres">
      <dgm:prSet presAssocID="{7241ACF9-0DFA-4479-A202-D9578BFF170B}" presName="rootText" presStyleLbl="node1" presStyleIdx="7" presStyleCnt="15">
        <dgm:presLayoutVars>
          <dgm:chMax/>
          <dgm:chPref val="3"/>
        </dgm:presLayoutVars>
      </dgm:prSet>
      <dgm:spPr>
        <a:prstGeom prst="parallelogram">
          <a:avLst/>
        </a:prstGeom>
      </dgm:spPr>
      <dgm:t>
        <a:bodyPr/>
        <a:lstStyle/>
        <a:p>
          <a:endParaRPr lang="en-US"/>
        </a:p>
      </dgm:t>
    </dgm:pt>
    <dgm:pt modelId="{0E14B893-EADA-445F-8D6E-0D3515BAE7F7}" type="pres">
      <dgm:prSet presAssocID="{7241ACF9-0DFA-4479-A202-D9578BFF170B}" presName="titleText2" presStyleLbl="fgAcc1" presStyleIdx="7" presStyleCnt="15" custLinFactX="-123478" custLinFactY="410378" custLinFactNeighborX="-200000" custLinFactNeighborY="5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AD53DCC-91ED-44C2-9DF3-DB6428293726}" type="pres">
      <dgm:prSet presAssocID="{7241ACF9-0DFA-4479-A202-D9578BFF170B}" presName="rootConnector" presStyleLbl="node3" presStyleIdx="0" presStyleCnt="0"/>
      <dgm:spPr/>
      <dgm:t>
        <a:bodyPr/>
        <a:lstStyle/>
        <a:p>
          <a:endParaRPr lang="en-US"/>
        </a:p>
      </dgm:t>
    </dgm:pt>
    <dgm:pt modelId="{7D3BEF84-E76B-4124-8F55-D283EB4215C9}" type="pres">
      <dgm:prSet presAssocID="{7241ACF9-0DFA-4479-A202-D9578BFF170B}" presName="hierChild4" presStyleCnt="0"/>
      <dgm:spPr/>
    </dgm:pt>
    <dgm:pt modelId="{0E879A47-455A-45FC-9976-2FA1074788F4}" type="pres">
      <dgm:prSet presAssocID="{87AB9070-E6D9-4606-B74C-C27F19816E44}" presName="Name37" presStyleLbl="parChTrans1D4" presStyleIdx="2" presStyleCnt="6"/>
      <dgm:spPr/>
      <dgm:t>
        <a:bodyPr/>
        <a:lstStyle/>
        <a:p>
          <a:endParaRPr lang="en-US"/>
        </a:p>
      </dgm:t>
    </dgm:pt>
    <dgm:pt modelId="{38A14BE1-9A3D-4F18-BFB8-0F4AC19B06BE}" type="pres">
      <dgm:prSet presAssocID="{03142A97-D197-4BF6-9B90-0A874066453A}" presName="hierRoot2" presStyleCnt="0">
        <dgm:presLayoutVars>
          <dgm:hierBranch val="init"/>
        </dgm:presLayoutVars>
      </dgm:prSet>
      <dgm:spPr/>
    </dgm:pt>
    <dgm:pt modelId="{3D77A845-441A-4474-BEEC-26C95E88614E}" type="pres">
      <dgm:prSet presAssocID="{03142A97-D197-4BF6-9B90-0A874066453A}" presName="rootComposite" presStyleCnt="0"/>
      <dgm:spPr/>
    </dgm:pt>
    <dgm:pt modelId="{41722D81-0BCA-4ADE-B431-AA5C7B51B8B4}" type="pres">
      <dgm:prSet presAssocID="{03142A97-D197-4BF6-9B90-0A874066453A}" presName="rootText" presStyleLbl="node1" presStyleIdx="8" presStyleCnt="15" custLinFactNeighborX="468" custLinFactNeighborY="-97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E45EC5C4-6829-4D5C-AD72-336A92EC1509}" type="pres">
      <dgm:prSet presAssocID="{03142A97-D197-4BF6-9B90-0A874066453A}" presName="titleText2" presStyleLbl="fgAcc1" presStyleIdx="8" presStyleCnt="15" custLinFactX="-100000" custLinFactY="200000" custLinFactNeighborX="-149027" custLinFactNeighborY="22841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CB551D01-C85E-409B-BBBC-DFE546C8B57A}" type="pres">
      <dgm:prSet presAssocID="{03142A97-D197-4BF6-9B90-0A874066453A}" presName="rootConnector" presStyleLbl="node4" presStyleIdx="0" presStyleCnt="0"/>
      <dgm:spPr/>
      <dgm:t>
        <a:bodyPr/>
        <a:lstStyle/>
        <a:p>
          <a:endParaRPr lang="en-US"/>
        </a:p>
      </dgm:t>
    </dgm:pt>
    <dgm:pt modelId="{BE7DF502-1A89-40F4-8810-7EF7624C7EB8}" type="pres">
      <dgm:prSet presAssocID="{03142A97-D197-4BF6-9B90-0A874066453A}" presName="hierChild4" presStyleCnt="0"/>
      <dgm:spPr/>
    </dgm:pt>
    <dgm:pt modelId="{58BA5745-DA5F-451B-800F-AC16EB5C5B33}" type="pres">
      <dgm:prSet presAssocID="{03142A97-D197-4BF6-9B90-0A874066453A}" presName="hierChild5" presStyleCnt="0"/>
      <dgm:spPr/>
    </dgm:pt>
    <dgm:pt modelId="{4F2C7F76-32F4-47B7-A863-C89ADB9A0913}" type="pres">
      <dgm:prSet presAssocID="{EF456023-0983-4D25-856B-83925CC487EA}" presName="Name37" presStyleLbl="parChTrans1D4" presStyleIdx="3" presStyleCnt="6"/>
      <dgm:spPr/>
      <dgm:t>
        <a:bodyPr/>
        <a:lstStyle/>
        <a:p>
          <a:endParaRPr lang="en-US"/>
        </a:p>
      </dgm:t>
    </dgm:pt>
    <dgm:pt modelId="{621DE0C7-11D6-41B8-AE9F-0D1508DA91A3}" type="pres">
      <dgm:prSet presAssocID="{94EB1531-6523-4952-BEBF-5162BB774894}" presName="hierRoot2" presStyleCnt="0">
        <dgm:presLayoutVars>
          <dgm:hierBranch val="init"/>
        </dgm:presLayoutVars>
      </dgm:prSet>
      <dgm:spPr/>
    </dgm:pt>
    <dgm:pt modelId="{FA0EECFB-8260-4D08-88F3-12561D9A4ECE}" type="pres">
      <dgm:prSet presAssocID="{94EB1531-6523-4952-BEBF-5162BB774894}" presName="rootComposite" presStyleCnt="0"/>
      <dgm:spPr/>
    </dgm:pt>
    <dgm:pt modelId="{3869E2A7-755B-405A-A648-4F604E7972C1}" type="pres">
      <dgm:prSet presAssocID="{94EB1531-6523-4952-BEBF-5162BB774894}" presName="rootText" presStyleLbl="node1" presStyleIdx="9" presStyleCnt="15" custLinFactNeighborX="67" custLinFactNeighborY="-559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EBFEF5E8-460E-4117-83D4-6774E85EF7CF}" type="pres">
      <dgm:prSet presAssocID="{94EB1531-6523-4952-BEBF-5162BB774894}" presName="titleText2" presStyleLbl="fgAcc1" presStyleIdx="9" presStyleCnt="15" custLinFactX="-200000" custLinFactY="213203" custLinFactNeighborX="-203064" custLinFactNeighborY="3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D190B0FE-A5D3-4D29-8D44-FC58BBC73060}" type="pres">
      <dgm:prSet presAssocID="{94EB1531-6523-4952-BEBF-5162BB774894}" presName="rootConnector" presStyleLbl="node4" presStyleIdx="0" presStyleCnt="0"/>
      <dgm:spPr/>
      <dgm:t>
        <a:bodyPr/>
        <a:lstStyle/>
        <a:p>
          <a:endParaRPr lang="en-US"/>
        </a:p>
      </dgm:t>
    </dgm:pt>
    <dgm:pt modelId="{139BF659-A8C7-40EF-9A5C-D81AEF850469}" type="pres">
      <dgm:prSet presAssocID="{94EB1531-6523-4952-BEBF-5162BB774894}" presName="hierChild4" presStyleCnt="0"/>
      <dgm:spPr/>
    </dgm:pt>
    <dgm:pt modelId="{9C6FD797-5655-4414-BFDA-EC790B83C223}" type="pres">
      <dgm:prSet presAssocID="{94EB1531-6523-4952-BEBF-5162BB774894}" presName="hierChild5" presStyleCnt="0"/>
      <dgm:spPr/>
    </dgm:pt>
    <dgm:pt modelId="{29A9513D-0E1D-4C5C-9942-D1912E6BC6D4}" type="pres">
      <dgm:prSet presAssocID="{7241ACF9-0DFA-4479-A202-D9578BFF170B}" presName="hierChild5" presStyleCnt="0"/>
      <dgm:spPr/>
    </dgm:pt>
    <dgm:pt modelId="{A7CD477B-BE56-4ADF-B821-B7A48A4F8874}" type="pres">
      <dgm:prSet presAssocID="{93E7D789-BE7F-427C-9DFC-7890C67EBE45}" presName="Name37" presStyleLbl="parChTrans1D3" presStyleIdx="4" presStyleCnt="7"/>
      <dgm:spPr/>
      <dgm:t>
        <a:bodyPr/>
        <a:lstStyle/>
        <a:p>
          <a:endParaRPr lang="en-US"/>
        </a:p>
      </dgm:t>
    </dgm:pt>
    <dgm:pt modelId="{114591B4-85AC-428F-A675-7340178D8E89}" type="pres">
      <dgm:prSet presAssocID="{9101451A-F006-4314-A8C4-33B39C63A29D}" presName="hierRoot2" presStyleCnt="0">
        <dgm:presLayoutVars>
          <dgm:hierBranch val="init"/>
        </dgm:presLayoutVars>
      </dgm:prSet>
      <dgm:spPr/>
    </dgm:pt>
    <dgm:pt modelId="{C211EDAA-2A04-485F-B92F-82BE1C7C4A5E}" type="pres">
      <dgm:prSet presAssocID="{9101451A-F006-4314-A8C4-33B39C63A29D}" presName="rootComposite" presStyleCnt="0"/>
      <dgm:spPr/>
    </dgm:pt>
    <dgm:pt modelId="{C12AC7B1-2875-4FDA-8F7A-08321A657A2F}" type="pres">
      <dgm:prSet presAssocID="{9101451A-F006-4314-A8C4-33B39C63A29D}" presName="rootText" presStyleLbl="node1" presStyleIdx="10" presStyleCnt="1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053374C8-8DCA-4AFE-A140-CEEC3EB4697D}" type="pres">
      <dgm:prSet presAssocID="{9101451A-F006-4314-A8C4-33B39C63A29D}" presName="titleText2" presStyleLbl="fgAcc1" presStyleIdx="10" presStyleCnt="15" custLinFactX="-219447" custLinFactY="437154" custLinFactNeighborX="-300000" custLinFactNeighborY="5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D11ED8C-5B94-4B5E-AA16-687BC4308502}" type="pres">
      <dgm:prSet presAssocID="{9101451A-F006-4314-A8C4-33B39C63A29D}" presName="rootConnector" presStyleLbl="node3" presStyleIdx="0" presStyleCnt="0"/>
      <dgm:spPr/>
      <dgm:t>
        <a:bodyPr/>
        <a:lstStyle/>
        <a:p>
          <a:endParaRPr lang="en-US"/>
        </a:p>
      </dgm:t>
    </dgm:pt>
    <dgm:pt modelId="{10EE5EAF-C0EB-42DB-9A70-737F636AA6F8}" type="pres">
      <dgm:prSet presAssocID="{9101451A-F006-4314-A8C4-33B39C63A29D}" presName="hierChild4" presStyleCnt="0"/>
      <dgm:spPr/>
    </dgm:pt>
    <dgm:pt modelId="{59266FFE-DE65-4BD9-B537-0AF054369FF2}" type="pres">
      <dgm:prSet presAssocID="{9101451A-F006-4314-A8C4-33B39C63A29D}" presName="hierChild5" presStyleCnt="0"/>
      <dgm:spPr/>
    </dgm:pt>
    <dgm:pt modelId="{BD6272B6-7828-40A4-BD4F-D1B149E42C97}" type="pres">
      <dgm:prSet presAssocID="{E55065D0-1BE9-417C-8B1F-A35AF4D3C1E8}" presName="Name37" presStyleLbl="parChTrans1D3" presStyleIdx="5" presStyleCnt="7"/>
      <dgm:spPr/>
      <dgm:t>
        <a:bodyPr/>
        <a:lstStyle/>
        <a:p>
          <a:endParaRPr lang="en-US"/>
        </a:p>
      </dgm:t>
    </dgm:pt>
    <dgm:pt modelId="{7745AEBA-29A2-47D1-A9EE-10FE08A0D43A}" type="pres">
      <dgm:prSet presAssocID="{AA6CD443-86FF-4183-BB55-4C128552DFC0}" presName="hierRoot2" presStyleCnt="0">
        <dgm:presLayoutVars>
          <dgm:hierBranch val="init"/>
        </dgm:presLayoutVars>
      </dgm:prSet>
      <dgm:spPr/>
    </dgm:pt>
    <dgm:pt modelId="{A0727C39-1FA0-4962-8243-12CCA0A5085C}" type="pres">
      <dgm:prSet presAssocID="{AA6CD443-86FF-4183-BB55-4C128552DFC0}" presName="rootComposite" presStyleCnt="0"/>
      <dgm:spPr/>
    </dgm:pt>
    <dgm:pt modelId="{FC440CED-6F74-4356-8DD1-5422C26ED312}" type="pres">
      <dgm:prSet presAssocID="{AA6CD443-86FF-4183-BB55-4C128552DFC0}" presName="rootText" presStyleLbl="node1" presStyleIdx="11" presStyleCnt="15" custLinFactNeighborX="468" custLinFactNeighborY="-97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7E990F88-3AAE-499C-A89C-0757FA631442}" type="pres">
      <dgm:prSet presAssocID="{AA6CD443-86FF-4183-BB55-4C128552DFC0}" presName="titleText2" presStyleLbl="fgAcc1" presStyleIdx="11" presStyleCnt="15" custLinFactX="-294754" custLinFactY="477318" custLinFactNeighborX="-300000" custLinFactNeighborY="5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1EF22F4-FFA7-48BB-B853-472A767400A1}" type="pres">
      <dgm:prSet presAssocID="{AA6CD443-86FF-4183-BB55-4C128552DFC0}" presName="rootConnector" presStyleLbl="node3" presStyleIdx="0" presStyleCnt="0"/>
      <dgm:spPr/>
      <dgm:t>
        <a:bodyPr/>
        <a:lstStyle/>
        <a:p>
          <a:endParaRPr lang="en-US"/>
        </a:p>
      </dgm:t>
    </dgm:pt>
    <dgm:pt modelId="{ABBC3761-F96E-466F-9867-0528EEE465DE}" type="pres">
      <dgm:prSet presAssocID="{AA6CD443-86FF-4183-BB55-4C128552DFC0}" presName="hierChild4" presStyleCnt="0"/>
      <dgm:spPr/>
    </dgm:pt>
    <dgm:pt modelId="{7BF5C392-A159-4EA8-8E65-D57879BFDC32}" type="pres">
      <dgm:prSet presAssocID="{8BDCC07F-8A1A-4B56-952E-6A04294A7B19}" presName="Name37" presStyleLbl="parChTrans1D4" presStyleIdx="4" presStyleCnt="6"/>
      <dgm:spPr/>
      <dgm:t>
        <a:bodyPr/>
        <a:lstStyle/>
        <a:p>
          <a:endParaRPr lang="en-US"/>
        </a:p>
      </dgm:t>
    </dgm:pt>
    <dgm:pt modelId="{F455EC18-0E82-4C56-AE5E-7C0A4B8E33C0}" type="pres">
      <dgm:prSet presAssocID="{0873A161-31E9-41DF-AE3D-71B585911B56}" presName="hierRoot2" presStyleCnt="0">
        <dgm:presLayoutVars>
          <dgm:hierBranch val="init"/>
        </dgm:presLayoutVars>
      </dgm:prSet>
      <dgm:spPr/>
    </dgm:pt>
    <dgm:pt modelId="{282EB8AC-7DE7-4B6C-A875-9B5310CD2101}" type="pres">
      <dgm:prSet presAssocID="{0873A161-31E9-41DF-AE3D-71B585911B56}" presName="rootComposite" presStyleCnt="0"/>
      <dgm:spPr/>
    </dgm:pt>
    <dgm:pt modelId="{8969A560-A00C-422E-AF53-E1A16D840F32}" type="pres">
      <dgm:prSet presAssocID="{0873A161-31E9-41DF-AE3D-71B585911B56}" presName="rootText" presStyleLbl="node1" presStyleIdx="12" presStyleCnt="15" custLinFactNeighborX="468" custLinFactNeighborY="-97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8F1D18B6-9109-4441-BB8B-9E8E7B89C1E7}" type="pres">
      <dgm:prSet presAssocID="{0873A161-31E9-41DF-AE3D-71B585911B56}" presName="titleText2" presStyleLbl="fgAcc1" presStyleIdx="12" presStyleCnt="15" custLinFactX="-259668" custLinFactY="170399" custLinFactNeighborX="-300000" custLinFactNeighborY="20000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604DDD9-CEED-47B0-A543-45D6DDE00ED9}" type="pres">
      <dgm:prSet presAssocID="{0873A161-31E9-41DF-AE3D-71B585911B56}" presName="rootConnector" presStyleLbl="node4" presStyleIdx="0" presStyleCnt="0"/>
      <dgm:spPr/>
      <dgm:t>
        <a:bodyPr/>
        <a:lstStyle/>
        <a:p>
          <a:endParaRPr lang="en-US"/>
        </a:p>
      </dgm:t>
    </dgm:pt>
    <dgm:pt modelId="{A8B2FD64-1FAC-47A1-A480-BEEAA6857D06}" type="pres">
      <dgm:prSet presAssocID="{0873A161-31E9-41DF-AE3D-71B585911B56}" presName="hierChild4" presStyleCnt="0"/>
      <dgm:spPr/>
    </dgm:pt>
    <dgm:pt modelId="{BDA5F237-3D84-442F-805C-AE8F8A76E0E2}" type="pres">
      <dgm:prSet presAssocID="{0873A161-31E9-41DF-AE3D-71B585911B56}" presName="hierChild5" presStyleCnt="0"/>
      <dgm:spPr/>
    </dgm:pt>
    <dgm:pt modelId="{9AF63143-670D-4D4C-8804-3D144C1996A6}" type="pres">
      <dgm:prSet presAssocID="{1DC2697E-382C-4701-9BB8-6B11637AAE03}" presName="Name37" presStyleLbl="parChTrans1D4" presStyleIdx="5" presStyleCnt="6"/>
      <dgm:spPr/>
      <dgm:t>
        <a:bodyPr/>
        <a:lstStyle/>
        <a:p>
          <a:endParaRPr lang="en-US"/>
        </a:p>
      </dgm:t>
    </dgm:pt>
    <dgm:pt modelId="{B26EF28B-FEC8-412B-819D-F66CE1E4F0A7}" type="pres">
      <dgm:prSet presAssocID="{D2F46840-79E4-4EAA-BEE6-C3E39AB2C3BB}" presName="hierRoot2" presStyleCnt="0">
        <dgm:presLayoutVars>
          <dgm:hierBranch val="init"/>
        </dgm:presLayoutVars>
      </dgm:prSet>
      <dgm:spPr/>
    </dgm:pt>
    <dgm:pt modelId="{33CC2384-9917-4055-98E6-1D2AE08AB289}" type="pres">
      <dgm:prSet presAssocID="{D2F46840-79E4-4EAA-BEE6-C3E39AB2C3BB}" presName="rootComposite" presStyleCnt="0"/>
      <dgm:spPr/>
    </dgm:pt>
    <dgm:pt modelId="{C6280845-B7EE-4C0F-8788-13E584DE787E}" type="pres">
      <dgm:prSet presAssocID="{D2F46840-79E4-4EAA-BEE6-C3E39AB2C3BB}" presName="rootText" presStyleLbl="node1" presStyleIdx="13" presStyleCnt="15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3B3946CE-A131-4980-BD91-239DD2B5CEF2}" type="pres">
      <dgm:prSet presAssocID="{D2F46840-79E4-4EAA-BEE6-C3E39AB2C3BB}" presName="titleText2" presStyleLbl="fgAcc1" presStyleIdx="13" presStyleCnt="15" custLinFactX="-322262" custLinFactY="200000" custLinFactNeighborX="-400000" custLinFactNeighborY="28196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E58D5C48-D9A3-47A7-8B8E-B3B9955A0670}" type="pres">
      <dgm:prSet presAssocID="{D2F46840-79E4-4EAA-BEE6-C3E39AB2C3BB}" presName="rootConnector" presStyleLbl="node4" presStyleIdx="0" presStyleCnt="0"/>
      <dgm:spPr/>
      <dgm:t>
        <a:bodyPr/>
        <a:lstStyle/>
        <a:p>
          <a:endParaRPr lang="en-US"/>
        </a:p>
      </dgm:t>
    </dgm:pt>
    <dgm:pt modelId="{335E8BCC-4D82-4712-A092-A5306E98924A}" type="pres">
      <dgm:prSet presAssocID="{D2F46840-79E4-4EAA-BEE6-C3E39AB2C3BB}" presName="hierChild4" presStyleCnt="0"/>
      <dgm:spPr/>
    </dgm:pt>
    <dgm:pt modelId="{9FE765B8-0518-4930-A38B-BFC53D7DF8FE}" type="pres">
      <dgm:prSet presAssocID="{D2F46840-79E4-4EAA-BEE6-C3E39AB2C3BB}" presName="hierChild5" presStyleCnt="0"/>
      <dgm:spPr/>
    </dgm:pt>
    <dgm:pt modelId="{457AB36C-E3EF-4770-A44F-C96EED05476E}" type="pres">
      <dgm:prSet presAssocID="{AA6CD443-86FF-4183-BB55-4C128552DFC0}" presName="hierChild5" presStyleCnt="0"/>
      <dgm:spPr/>
    </dgm:pt>
    <dgm:pt modelId="{51F10AF7-4E2E-4E0D-828C-42391D54A564}" type="pres">
      <dgm:prSet presAssocID="{E856E615-0503-4B0E-960E-31630859AFF1}" presName="Name37" presStyleLbl="parChTrans1D3" presStyleIdx="6" presStyleCnt="7"/>
      <dgm:spPr/>
      <dgm:t>
        <a:bodyPr/>
        <a:lstStyle/>
        <a:p>
          <a:endParaRPr lang="en-US"/>
        </a:p>
      </dgm:t>
    </dgm:pt>
    <dgm:pt modelId="{9720237E-A105-4944-9F31-006C0744C1E8}" type="pres">
      <dgm:prSet presAssocID="{BB125099-03BB-4DCA-8D5D-5918399D3207}" presName="hierRoot2" presStyleCnt="0">
        <dgm:presLayoutVars>
          <dgm:hierBranch val="init"/>
        </dgm:presLayoutVars>
      </dgm:prSet>
      <dgm:spPr/>
    </dgm:pt>
    <dgm:pt modelId="{63BE61F1-9CF7-4681-85FC-5F8C17A5149C}" type="pres">
      <dgm:prSet presAssocID="{BB125099-03BB-4DCA-8D5D-5918399D3207}" presName="rootComposite" presStyleCnt="0"/>
      <dgm:spPr/>
    </dgm:pt>
    <dgm:pt modelId="{8106F296-A829-4098-B599-D55B8117FF30}" type="pres">
      <dgm:prSet presAssocID="{BB125099-03BB-4DCA-8D5D-5918399D3207}" presName="rootText" presStyleLbl="node1" presStyleIdx="14" presStyleCnt="15" custLinFactNeighborX="67" custLinFactNeighborY="-559">
        <dgm:presLayoutVars>
          <dgm:chMax/>
          <dgm:chPref val="3"/>
        </dgm:presLayoutVars>
      </dgm:prSet>
      <dgm:spPr>
        <a:prstGeom prst="hexagon">
          <a:avLst/>
        </a:prstGeom>
      </dgm:spPr>
      <dgm:t>
        <a:bodyPr/>
        <a:lstStyle/>
        <a:p>
          <a:endParaRPr lang="en-US"/>
        </a:p>
      </dgm:t>
    </dgm:pt>
    <dgm:pt modelId="{C3DD51E6-DCE1-40D9-A7E9-4B9F808E4318}" type="pres">
      <dgm:prSet presAssocID="{BB125099-03BB-4DCA-8D5D-5918399D3207}" presName="titleText2" presStyleLbl="fgAcc1" presStyleIdx="14" presStyleCnt="15" custLinFactX="-373608" custLinFactY="500000" custLinFactNeighborX="-400000" custLinFactNeighborY="50409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F8E960C1-E349-4768-9A2D-BF64145557A8}" type="pres">
      <dgm:prSet presAssocID="{BB125099-03BB-4DCA-8D5D-5918399D3207}" presName="rootConnector" presStyleLbl="node3" presStyleIdx="0" presStyleCnt="0"/>
      <dgm:spPr/>
      <dgm:t>
        <a:bodyPr/>
        <a:lstStyle/>
        <a:p>
          <a:endParaRPr lang="en-US"/>
        </a:p>
      </dgm:t>
    </dgm:pt>
    <dgm:pt modelId="{DD65A625-5624-4B8B-B818-DDFF2786B0CD}" type="pres">
      <dgm:prSet presAssocID="{BB125099-03BB-4DCA-8D5D-5918399D3207}" presName="hierChild4" presStyleCnt="0"/>
      <dgm:spPr/>
    </dgm:pt>
    <dgm:pt modelId="{B24689D8-F71C-49AD-85C1-F8D190BA831B}" type="pres">
      <dgm:prSet presAssocID="{BB125099-03BB-4DCA-8D5D-5918399D3207}" presName="hierChild5" presStyleCnt="0"/>
      <dgm:spPr/>
    </dgm:pt>
    <dgm:pt modelId="{D1B10139-577E-4C9E-8C9A-292D1CABA804}" type="pres">
      <dgm:prSet presAssocID="{65A9B2C3-ED14-4F11-AD33-EA0D8EA1621B}" presName="hierChild5" presStyleCnt="0"/>
      <dgm:spPr/>
    </dgm:pt>
    <dgm:pt modelId="{D7F0947B-02A0-4EB2-99F6-B57DE34B4FDF}" type="pres">
      <dgm:prSet presAssocID="{8B05B13D-4FD5-478C-8397-278E05A8B3A4}" presName="hierChild3" presStyleCnt="0"/>
      <dgm:spPr/>
    </dgm:pt>
  </dgm:ptLst>
  <dgm:cxnLst>
    <dgm:cxn modelId="{BC4147C2-6F17-40E6-A1D2-F88E72C16F68}" type="presOf" srcId="{D454304E-C3FF-461B-9298-9D8349D7BC10}" destId="{37A1A95A-CEA6-414A-98E2-8B7AE16094D2}" srcOrd="0" destOrd="0" presId="urn:microsoft.com/office/officeart/2008/layout/NameandTitleOrganizationalChart"/>
    <dgm:cxn modelId="{8D83236B-2223-436C-8A4B-3FD3356F9E7B}" type="presOf" srcId="{F7C3CF15-5E0D-4665-882D-36D58CF12A60}" destId="{4FBF8BB0-1CDE-4C33-9019-A7E5597838AC}" srcOrd="0" destOrd="0" presId="urn:microsoft.com/office/officeart/2008/layout/NameandTitleOrganizationalChart"/>
    <dgm:cxn modelId="{02A314A4-2D95-4E9E-ABBD-54AF1890E187}" srcId="{8B05B13D-4FD5-478C-8397-278E05A8B3A4}" destId="{0E726395-197B-48A1-A35C-21C1591EBDD4}" srcOrd="0" destOrd="0" parTransId="{DBF1D4F2-5C65-4C86-AADD-060D2B9F0056}" sibTransId="{AC164A7B-ECC3-4576-A254-0D6EB2558868}"/>
    <dgm:cxn modelId="{B54F0A5D-197E-4B5D-9A0F-D64497B0506E}" type="presOf" srcId="{65A9B2C3-ED14-4F11-AD33-EA0D8EA1621B}" destId="{C2C30035-9241-474B-AFC5-1CA1655D1A2F}" srcOrd="0" destOrd="0" presId="urn:microsoft.com/office/officeart/2008/layout/NameandTitleOrganizationalChart"/>
    <dgm:cxn modelId="{E9124466-82AB-4663-A414-FE8441A337D2}" type="presOf" srcId="{BE093903-DDA2-4A30-8F36-4515467E730B}" destId="{BC8B3DF1-562F-4D1A-A638-8282CCC686DE}" srcOrd="0" destOrd="0" presId="urn:microsoft.com/office/officeart/2008/layout/NameandTitleOrganizationalChart"/>
    <dgm:cxn modelId="{A77B48B9-4BEE-41A8-9E5F-7E7579287044}" type="presOf" srcId="{B930FA56-DDD5-4DB9-936F-9A487715D881}" destId="{20BA6823-96A8-45AE-A0BD-0E4D2CBAF337}" srcOrd="0" destOrd="0" presId="urn:microsoft.com/office/officeart/2008/layout/NameandTitleOrganizationalChart"/>
    <dgm:cxn modelId="{913D40C2-E711-47A9-A3FE-5FA34131C472}" type="presOf" srcId="{AC164A7B-ECC3-4576-A254-0D6EB2558868}" destId="{20B44729-766A-48D7-87ED-AD75AF456AA8}" srcOrd="0" destOrd="0" presId="urn:microsoft.com/office/officeart/2008/layout/NameandTitleOrganizationalChart"/>
    <dgm:cxn modelId="{3D339C4D-0795-4569-A337-80EA0A05D0B9}" type="presOf" srcId="{A3B6FC96-0BB7-403C-8C37-30AFFF157AC3}" destId="{8F1D18B6-9109-4441-BB8B-9E8E7B89C1E7}" srcOrd="0" destOrd="0" presId="urn:microsoft.com/office/officeart/2008/layout/NameandTitleOrganizationalChart"/>
    <dgm:cxn modelId="{C0155EC5-D4CC-49E9-AFD5-80B17C5E37B1}" type="presOf" srcId="{0E726395-197B-48A1-A35C-21C1591EBDD4}" destId="{8EE35D8B-BEB4-45A9-B5AF-E76DC893500D}" srcOrd="0" destOrd="0" presId="urn:microsoft.com/office/officeart/2008/layout/NameandTitleOrganizationalChart"/>
    <dgm:cxn modelId="{62B9ECA0-9A24-4E35-88D1-14EF43593CAA}" srcId="{8B05B13D-4FD5-478C-8397-278E05A8B3A4}" destId="{65A9B2C3-ED14-4F11-AD33-EA0D8EA1621B}" srcOrd="1" destOrd="0" parTransId="{75969326-2BEC-4BB0-8EF2-40DEFD6FCE01}" sibTransId="{F9272A94-E943-4C86-945F-9E7D0AF6D63B}"/>
    <dgm:cxn modelId="{580C76E9-99B0-4460-AEDE-FE5741F94A23}" type="presOf" srcId="{6295108A-E628-4005-8540-AA5DC5BE06F2}" destId="{0E14B893-EADA-445F-8D6E-0D3515BAE7F7}" srcOrd="0" destOrd="0" presId="urn:microsoft.com/office/officeart/2008/layout/NameandTitleOrganizationalChart"/>
    <dgm:cxn modelId="{B8F6A6CA-B93E-40C8-BE84-C9015ECD506B}" type="presOf" srcId="{87AB9070-E6D9-4606-B74C-C27F19816E44}" destId="{0E879A47-455A-45FC-9976-2FA1074788F4}" srcOrd="0" destOrd="0" presId="urn:microsoft.com/office/officeart/2008/layout/NameandTitleOrganizationalChart"/>
    <dgm:cxn modelId="{5E0E380F-3C22-4038-B4E4-9E1FAA9410E3}" type="presOf" srcId="{BB125099-03BB-4DCA-8D5D-5918399D3207}" destId="{8106F296-A829-4098-B599-D55B8117FF30}" srcOrd="0" destOrd="0" presId="urn:microsoft.com/office/officeart/2008/layout/NameandTitleOrganizationalChart"/>
    <dgm:cxn modelId="{7FB06FB1-2D31-4679-9FAD-CFEC27E33C3F}" type="presOf" srcId="{D0501EE9-93F7-48A0-82EC-D0C2559D71B9}" destId="{70C8D85F-96F9-4466-9DF1-04837DC2DB29}" srcOrd="1" destOrd="0" presId="urn:microsoft.com/office/officeart/2008/layout/NameandTitleOrganizationalChart"/>
    <dgm:cxn modelId="{63B5DE3F-F0BD-455C-B0F1-AA60D2D8C573}" type="presOf" srcId="{98D75CB2-5652-4BE1-8A32-E3C65B4D5D01}" destId="{C8FF8BF7-F757-4140-9668-BE763F17D813}" srcOrd="0" destOrd="0" presId="urn:microsoft.com/office/officeart/2008/layout/NameandTitleOrganizationalChart"/>
    <dgm:cxn modelId="{361A8837-408E-44C9-905F-23DA4D05977E}" type="presOf" srcId="{F4A67678-D96D-4FA4-ABB5-78A5D2EE565C}" destId="{845E6649-DB73-4C3B-A81F-DCD945F5C92F}" srcOrd="0" destOrd="0" presId="urn:microsoft.com/office/officeart/2008/layout/NameandTitleOrganizationalChart"/>
    <dgm:cxn modelId="{4E30C174-427E-43ED-9AEA-9705B9070CFF}" type="presOf" srcId="{D2F46840-79E4-4EAA-BEE6-C3E39AB2C3BB}" destId="{E58D5C48-D9A3-47A7-8B8E-B3B9955A0670}" srcOrd="1" destOrd="0" presId="urn:microsoft.com/office/officeart/2008/layout/NameandTitleOrganizationalChart"/>
    <dgm:cxn modelId="{7D30847A-2482-404B-B1FE-D6271B6028C5}" type="presOf" srcId="{2FA38BBE-A3C8-49E2-9F47-6C8AEDFE4E79}" destId="{87445495-B0AD-4C1D-A4F3-2B7EFD674F9E}" srcOrd="0" destOrd="0" presId="urn:microsoft.com/office/officeart/2008/layout/NameandTitleOrganizationalChart"/>
    <dgm:cxn modelId="{257B32BC-9935-4A0B-A575-7DA010BB01DC}" type="presOf" srcId="{D5329C76-1759-4ECA-BEF6-004B314539D8}" destId="{E45EC5C4-6829-4D5C-AD72-336A92EC1509}" srcOrd="0" destOrd="0" presId="urn:microsoft.com/office/officeart/2008/layout/NameandTitleOrganizationalChart"/>
    <dgm:cxn modelId="{17CDD84A-E899-497B-B5B2-7B86A86700A8}" srcId="{65A9B2C3-ED14-4F11-AD33-EA0D8EA1621B}" destId="{9101451A-F006-4314-A8C4-33B39C63A29D}" srcOrd="1" destOrd="0" parTransId="{93E7D789-BE7F-427C-9DFC-7890C67EBE45}" sibTransId="{5FDD30C7-3F1D-48BA-AF3D-0CD488D13A2E}"/>
    <dgm:cxn modelId="{3B11D4A6-5EC9-4E6B-A16F-3BCE00CEBF38}" type="presOf" srcId="{95F7E176-746C-4DA8-B957-B41B55AF94D9}" destId="{268D79AA-ED07-4BCD-93D4-B9B00BF3A02D}" srcOrd="0" destOrd="0" presId="urn:microsoft.com/office/officeart/2008/layout/NameandTitleOrganizationalChart"/>
    <dgm:cxn modelId="{58D14105-3147-449A-ADA1-AE8998D722F4}" type="presOf" srcId="{A05B53B4-2A27-41B6-8688-47FEC1AACF37}" destId="{07BAC14D-A941-443C-831F-668E8DB2ED27}" srcOrd="0" destOrd="0" presId="urn:microsoft.com/office/officeart/2008/layout/NameandTitleOrganizationalChart"/>
    <dgm:cxn modelId="{6D15D081-0253-4B14-95CB-4527D71C9BDB}" type="presOf" srcId="{DA72A292-EAB1-4485-81D0-01D1A4CA5633}" destId="{74E3AC88-DD94-4480-87AE-C92D37D2DD55}" srcOrd="0" destOrd="0" presId="urn:microsoft.com/office/officeart/2008/layout/NameandTitleOrganizationalChart"/>
    <dgm:cxn modelId="{8BE48003-10C5-4CA9-A3EB-DEB298E4516A}" type="presOf" srcId="{AA6CD443-86FF-4183-BB55-4C128552DFC0}" destId="{FC440CED-6F74-4356-8DD1-5422C26ED312}" srcOrd="0" destOrd="0" presId="urn:microsoft.com/office/officeart/2008/layout/NameandTitleOrganizationalChart"/>
    <dgm:cxn modelId="{6F4BF1B4-16AB-41FF-8636-89429FF9E578}" type="presOf" srcId="{DBF1D4F2-5C65-4C86-AADD-060D2B9F0056}" destId="{87D669C7-970D-45AA-B46C-09FE715E5B0B}" srcOrd="0" destOrd="0" presId="urn:microsoft.com/office/officeart/2008/layout/NameandTitleOrganizationalChart"/>
    <dgm:cxn modelId="{A0F5044D-12BD-4B3A-B8BB-FE50D06FCFEE}" srcId="{7241ACF9-0DFA-4479-A202-D9578BFF170B}" destId="{03142A97-D197-4BF6-9B90-0A874066453A}" srcOrd="0" destOrd="0" parTransId="{87AB9070-E6D9-4606-B74C-C27F19816E44}" sibTransId="{D5329C76-1759-4ECA-BEF6-004B314539D8}"/>
    <dgm:cxn modelId="{57214E58-78C0-468A-AFDC-DD82011FA6BA}" srcId="{0E726395-197B-48A1-A35C-21C1591EBDD4}" destId="{BE093903-DDA2-4A30-8F36-4515467E730B}" srcOrd="0" destOrd="0" parTransId="{B930FA56-DDD5-4DB9-936F-9A487715D881}" sibTransId="{04B687DE-26E9-4D8C-88DA-A0328511E504}"/>
    <dgm:cxn modelId="{5CA3952B-2A29-4ACF-9828-66DD1EDAF3F6}" type="presOf" srcId="{E55065D0-1BE9-417C-8B1F-A35AF4D3C1E8}" destId="{BD6272B6-7828-40A4-BD4F-D1B149E42C97}" srcOrd="0" destOrd="0" presId="urn:microsoft.com/office/officeart/2008/layout/NameandTitleOrganizationalChart"/>
    <dgm:cxn modelId="{A5E8A828-0A61-416A-9E1A-69DFAD3034D8}" type="presOf" srcId="{BE093903-DDA2-4A30-8F36-4515467E730B}" destId="{AE2B1AB8-3E93-4700-858B-588DE4A970B9}" srcOrd="1" destOrd="0" presId="urn:microsoft.com/office/officeart/2008/layout/NameandTitleOrganizationalChart"/>
    <dgm:cxn modelId="{AF0817E0-AE22-4FA4-80D6-03636F97FAEE}" type="presOf" srcId="{94EB1531-6523-4952-BEBF-5162BB774894}" destId="{3869E2A7-755B-405A-A648-4F604E7972C1}" srcOrd="0" destOrd="0" presId="urn:microsoft.com/office/officeart/2008/layout/NameandTitleOrganizationalChart"/>
    <dgm:cxn modelId="{19EF464C-7D9B-43D5-B6C5-0329D47637FA}" type="presOf" srcId="{0E726395-197B-48A1-A35C-21C1591EBDD4}" destId="{0F29F473-C0C5-4D9F-8222-B10E26715CF2}" srcOrd="1" destOrd="0" presId="urn:microsoft.com/office/officeart/2008/layout/NameandTitleOrganizationalChart"/>
    <dgm:cxn modelId="{A7A90B02-C995-4BCF-A03E-4A3FE73514D1}" type="presOf" srcId="{220C4C5E-6846-4CBC-A9E3-E7EBDA8936CF}" destId="{CA9CF75D-F408-4230-9630-73DA2735594D}" srcOrd="0" destOrd="0" presId="urn:microsoft.com/office/officeart/2008/layout/NameandTitleOrganizationalChart"/>
    <dgm:cxn modelId="{E69D2CD7-17F6-4A57-A2A0-1197A9D1F879}" type="presOf" srcId="{1D620FAD-941E-4163-8400-98E41742243C}" destId="{3B3946CE-A131-4980-BD91-239DD2B5CEF2}" srcOrd="0" destOrd="0" presId="urn:microsoft.com/office/officeart/2008/layout/NameandTitleOrganizationalChart"/>
    <dgm:cxn modelId="{BE52FFCD-97C5-4956-BF37-BED09C8EF55E}" type="presOf" srcId="{1874289D-BBB9-4735-A7BD-C613BBDD9B5E}" destId="{E3971792-2282-4521-8548-5DA284ED322B}" srcOrd="1" destOrd="0" presId="urn:microsoft.com/office/officeart/2008/layout/NameandTitleOrganizationalChart"/>
    <dgm:cxn modelId="{1C594A1B-504F-4818-A3BC-C14CA9E0007B}" type="presOf" srcId="{3F891970-117D-4B85-A549-FA4B8F7B4743}" destId="{31640F8C-1863-4DA0-9E98-7F498141E3ED}" srcOrd="0" destOrd="0" presId="urn:microsoft.com/office/officeart/2008/layout/NameandTitleOrganizationalChart"/>
    <dgm:cxn modelId="{98CD7DDC-49B3-4FAD-8886-C7FBE262C44E}" type="presOf" srcId="{0873A161-31E9-41DF-AE3D-71B585911B56}" destId="{A604DDD9-CEED-47B0-A543-45D6DDE00ED9}" srcOrd="1" destOrd="0" presId="urn:microsoft.com/office/officeart/2008/layout/NameandTitleOrganizationalChart"/>
    <dgm:cxn modelId="{9225E732-FB59-44CB-8927-8883464D4AA0}" srcId="{BE093903-DDA2-4A30-8F36-4515467E730B}" destId="{1874289D-BBB9-4735-A7BD-C613BBDD9B5E}" srcOrd="1" destOrd="0" parTransId="{2FA38BBE-A3C8-49E2-9F47-6C8AEDFE4E79}" sibTransId="{46B54ACF-93D2-4E4A-81B4-4020B56EED66}"/>
    <dgm:cxn modelId="{7321DEFF-057D-4B3F-AB04-34B707B68E1A}" type="presOf" srcId="{30603F37-3793-401C-B9B5-610896547ED5}" destId="{81A3CB1B-8E65-4473-8FD5-29E36E5FFC61}" srcOrd="0" destOrd="0" presId="urn:microsoft.com/office/officeart/2008/layout/NameandTitleOrganizationalChart"/>
    <dgm:cxn modelId="{B8AD59D5-F326-480A-AC33-1E250F20AFDF}" type="presOf" srcId="{9101451A-F006-4314-A8C4-33B39C63A29D}" destId="{8D11ED8C-5B94-4B5E-AA16-687BC4308502}" srcOrd="1" destOrd="0" presId="urn:microsoft.com/office/officeart/2008/layout/NameandTitleOrganizationalChart"/>
    <dgm:cxn modelId="{4C3CE610-E109-409E-A8B1-DE3D5BC32AA4}" type="presOf" srcId="{8B05B13D-4FD5-478C-8397-278E05A8B3A4}" destId="{34CFB2D3-86FD-4120-B3DD-8F35B1C582AF}" srcOrd="0" destOrd="0" presId="urn:microsoft.com/office/officeart/2008/layout/NameandTitleOrganizationalChart"/>
    <dgm:cxn modelId="{16733282-C3A5-4CCF-B9B2-CBBBA103CC51}" type="presOf" srcId="{93E7D789-BE7F-427C-9DFC-7890C67EBE45}" destId="{A7CD477B-BE56-4ADF-B821-B7A48A4F8874}" srcOrd="0" destOrd="0" presId="urn:microsoft.com/office/officeart/2008/layout/NameandTitleOrganizationalChart"/>
    <dgm:cxn modelId="{16A3B0D3-8E90-4D6D-A140-5A4A3DB245B6}" type="presOf" srcId="{BB125099-03BB-4DCA-8D5D-5918399D3207}" destId="{F8E960C1-E349-4768-9A2D-BF64145557A8}" srcOrd="1" destOrd="0" presId="urn:microsoft.com/office/officeart/2008/layout/NameandTitleOrganizationalChart"/>
    <dgm:cxn modelId="{8A926327-4488-4B5A-9E08-9DD14C4B8DA0}" srcId="{F4A67678-D96D-4FA4-ABB5-78A5D2EE565C}" destId="{8B05B13D-4FD5-478C-8397-278E05A8B3A4}" srcOrd="0" destOrd="0" parTransId="{62473CAD-B112-4F9A-8BA5-B2DF01F0DC54}" sibTransId="{DA72A292-EAB1-4485-81D0-01D1A4CA5633}"/>
    <dgm:cxn modelId="{7A446AE0-A94C-4EF8-9A35-FF1B89465292}" type="presOf" srcId="{75969326-2BEC-4BB0-8EF2-40DEFD6FCE01}" destId="{165BC65E-2DDD-4012-B9EC-32CD0A19D081}" srcOrd="0" destOrd="0" presId="urn:microsoft.com/office/officeart/2008/layout/NameandTitleOrganizationalChart"/>
    <dgm:cxn modelId="{82C492C2-FA72-4309-B712-A1939ED9E795}" type="presOf" srcId="{D0501EE9-93F7-48A0-82EC-D0C2559D71B9}" destId="{549BA040-41D3-4A01-878C-659819A8120D}" srcOrd="0" destOrd="0" presId="urn:microsoft.com/office/officeart/2008/layout/NameandTitleOrganizationalChart"/>
    <dgm:cxn modelId="{47AF0AED-227D-4D5B-A9CF-BE17728D3F40}" type="presOf" srcId="{98D75CB2-5652-4BE1-8A32-E3C65B4D5D01}" destId="{E69B5A33-F06C-4416-9940-9B32584F510A}" srcOrd="1" destOrd="0" presId="urn:microsoft.com/office/officeart/2008/layout/NameandTitleOrganizationalChart"/>
    <dgm:cxn modelId="{29558FE3-291C-466D-8DAA-399BF8F0EAB5}" srcId="{0E726395-197B-48A1-A35C-21C1591EBDD4}" destId="{D0501EE9-93F7-48A0-82EC-D0C2559D71B9}" srcOrd="1" destOrd="0" parTransId="{556F4279-4E5B-4B16-B3B8-92C59A3C2A22}" sibTransId="{220C4C5E-6846-4CBC-A9E3-E7EBDA8936CF}"/>
    <dgm:cxn modelId="{7253C2B5-1C5E-4CEC-B2F6-D5CA03849EA0}" srcId="{65A9B2C3-ED14-4F11-AD33-EA0D8EA1621B}" destId="{AA6CD443-86FF-4183-BB55-4C128552DFC0}" srcOrd="2" destOrd="0" parTransId="{E55065D0-1BE9-417C-8B1F-A35AF4D3C1E8}" sibTransId="{5856B657-D8F6-4AE8-9A85-9D2CB091D033}"/>
    <dgm:cxn modelId="{46591C5F-6CED-4C7D-9D59-9E317205B4AB}" type="presOf" srcId="{0873A161-31E9-41DF-AE3D-71B585911B56}" destId="{8969A560-A00C-422E-AF53-E1A16D840F32}" srcOrd="0" destOrd="0" presId="urn:microsoft.com/office/officeart/2008/layout/NameandTitleOrganizationalChart"/>
    <dgm:cxn modelId="{3AF54577-97F4-446A-9759-9B4F30F73DD2}" type="presOf" srcId="{03142A97-D197-4BF6-9B90-0A874066453A}" destId="{CB551D01-C85E-409B-BBBC-DFE546C8B57A}" srcOrd="1" destOrd="0" presId="urn:microsoft.com/office/officeart/2008/layout/NameandTitleOrganizationalChart"/>
    <dgm:cxn modelId="{62ACE291-251B-4F12-8518-93A00FAA19BD}" type="presOf" srcId="{EF456023-0983-4D25-856B-83925CC487EA}" destId="{4F2C7F76-32F4-47B7-A863-C89ADB9A0913}" srcOrd="0" destOrd="0" presId="urn:microsoft.com/office/officeart/2008/layout/NameandTitleOrganizationalChart"/>
    <dgm:cxn modelId="{4FFF04E3-C22C-4E4F-AA65-1BC1C796D9F6}" type="presOf" srcId="{9101451A-F006-4314-A8C4-33B39C63A29D}" destId="{C12AC7B1-2875-4FDA-8F7A-08321A657A2F}" srcOrd="0" destOrd="0" presId="urn:microsoft.com/office/officeart/2008/layout/NameandTitleOrganizationalChart"/>
    <dgm:cxn modelId="{D5D14C46-1199-434C-8BA4-8ED0E346E9D7}" type="presOf" srcId="{AA6CD443-86FF-4183-BB55-4C128552DFC0}" destId="{81EF22F4-FFA7-48BB-B853-472A767400A1}" srcOrd="1" destOrd="0" presId="urn:microsoft.com/office/officeart/2008/layout/NameandTitleOrganizationalChart"/>
    <dgm:cxn modelId="{FD1E73ED-6465-4D2F-99EC-3C12538B248D}" type="presOf" srcId="{43B0248E-E674-4073-A0A6-705755202DC4}" destId="{EBFEF5E8-460E-4117-83D4-6774E85EF7CF}" srcOrd="0" destOrd="0" presId="urn:microsoft.com/office/officeart/2008/layout/NameandTitleOrganizationalChart"/>
    <dgm:cxn modelId="{7916263A-3833-4073-8A51-474B84AFBE8B}" srcId="{65A9B2C3-ED14-4F11-AD33-EA0D8EA1621B}" destId="{BB125099-03BB-4DCA-8D5D-5918399D3207}" srcOrd="3" destOrd="0" parTransId="{E856E615-0503-4B0E-960E-31630859AFF1}" sibTransId="{17A93FD6-5202-4059-B5E7-5C74F69F5E6D}"/>
    <dgm:cxn modelId="{997CF8DE-ECF5-4816-A461-C10F212B84CA}" srcId="{BE093903-DDA2-4A30-8F36-4515467E730B}" destId="{30603F37-3793-401C-B9B5-610896547ED5}" srcOrd="0" destOrd="0" parTransId="{D454304E-C3FF-461B-9298-9D8349D7BC10}" sibTransId="{3F891970-117D-4B85-A549-FA4B8F7B4743}"/>
    <dgm:cxn modelId="{1F0951AF-5FCA-4A44-B7F2-1E05361481D8}" type="presOf" srcId="{30603F37-3793-401C-B9B5-610896547ED5}" destId="{25AEBD71-E2C9-4DAA-823A-5D896F7FEB06}" srcOrd="1" destOrd="0" presId="urn:microsoft.com/office/officeart/2008/layout/NameandTitleOrganizationalChart"/>
    <dgm:cxn modelId="{FDC6E31C-4A7B-4CB4-BCB9-D3DBB5A5B428}" srcId="{AA6CD443-86FF-4183-BB55-4C128552DFC0}" destId="{0873A161-31E9-41DF-AE3D-71B585911B56}" srcOrd="0" destOrd="0" parTransId="{8BDCC07F-8A1A-4B56-952E-6A04294A7B19}" sibTransId="{A3B6FC96-0BB7-403C-8C37-30AFFF157AC3}"/>
    <dgm:cxn modelId="{2563242B-9A8E-4F07-92D8-62F737364814}" type="presOf" srcId="{17A93FD6-5202-4059-B5E7-5C74F69F5E6D}" destId="{C3DD51E6-DCE1-40D9-A7E9-4B9F808E4318}" srcOrd="0" destOrd="0" presId="urn:microsoft.com/office/officeart/2008/layout/NameandTitleOrganizationalChart"/>
    <dgm:cxn modelId="{4E0200BF-E77D-4CA3-A0BE-A8F727F20558}" type="presOf" srcId="{7241ACF9-0DFA-4479-A202-D9578BFF170B}" destId="{7AD53DCC-91ED-44C2-9DF3-DB6428293726}" srcOrd="1" destOrd="0" presId="urn:microsoft.com/office/officeart/2008/layout/NameandTitleOrganizationalChart"/>
    <dgm:cxn modelId="{911628E3-E3EB-4C97-970B-5F2F2BABF434}" type="presOf" srcId="{04B687DE-26E9-4D8C-88DA-A0328511E504}" destId="{80165394-711B-43B1-BC7E-B954EBD4D7EB}" srcOrd="0" destOrd="0" presId="urn:microsoft.com/office/officeart/2008/layout/NameandTitleOrganizationalChart"/>
    <dgm:cxn modelId="{F7871EE0-3EB9-47D7-B091-3BF9D86C894E}" type="presOf" srcId="{7241ACF9-0DFA-4479-A202-D9578BFF170B}" destId="{A808A965-EC41-4DC7-92DB-57AD0ED6656A}" srcOrd="0" destOrd="0" presId="urn:microsoft.com/office/officeart/2008/layout/NameandTitleOrganizationalChart"/>
    <dgm:cxn modelId="{4E9FD751-2293-4967-ACF2-E9636D31F3A9}" type="presOf" srcId="{65A9B2C3-ED14-4F11-AD33-EA0D8EA1621B}" destId="{6A148A87-7624-4BD6-9A9B-5644CC5C9443}" srcOrd="1" destOrd="0" presId="urn:microsoft.com/office/officeart/2008/layout/NameandTitleOrganizationalChart"/>
    <dgm:cxn modelId="{68BF140F-0137-488C-86DF-FA9D5352FE58}" srcId="{7241ACF9-0DFA-4479-A202-D9578BFF170B}" destId="{94EB1531-6523-4952-BEBF-5162BB774894}" srcOrd="1" destOrd="0" parTransId="{EF456023-0983-4D25-856B-83925CC487EA}" sibTransId="{43B0248E-E674-4073-A0A6-705755202DC4}"/>
    <dgm:cxn modelId="{C2B67B6A-5EAB-409F-8DDD-2B8479DEE8C7}" srcId="{0E726395-197B-48A1-A35C-21C1591EBDD4}" destId="{98D75CB2-5652-4BE1-8A32-E3C65B4D5D01}" srcOrd="2" destOrd="0" parTransId="{F7C3CF15-5E0D-4665-882D-36D58CF12A60}" sibTransId="{A05B53B4-2A27-41B6-8688-47FEC1AACF37}"/>
    <dgm:cxn modelId="{FF327185-11FC-4EF6-8B03-B68B5D3C60C8}" type="presOf" srcId="{D2F46840-79E4-4EAA-BEE6-C3E39AB2C3BB}" destId="{C6280845-B7EE-4C0F-8788-13E584DE787E}" srcOrd="0" destOrd="0" presId="urn:microsoft.com/office/officeart/2008/layout/NameandTitleOrganizationalChart"/>
    <dgm:cxn modelId="{6AE83917-1B43-4F90-B13E-AA232764AF7A}" type="presOf" srcId="{8BDCC07F-8A1A-4B56-952E-6A04294A7B19}" destId="{7BF5C392-A159-4EA8-8E65-D57879BFDC32}" srcOrd="0" destOrd="0" presId="urn:microsoft.com/office/officeart/2008/layout/NameandTitleOrganizationalChart"/>
    <dgm:cxn modelId="{2A1198F0-BB6E-4F8F-B201-AA5420D10257}" type="presOf" srcId="{1DC2697E-382C-4701-9BB8-6B11637AAE03}" destId="{9AF63143-670D-4D4C-8804-3D144C1996A6}" srcOrd="0" destOrd="0" presId="urn:microsoft.com/office/officeart/2008/layout/NameandTitleOrganizationalChart"/>
    <dgm:cxn modelId="{CEE3C6D2-49F4-4A32-A954-084919BE861D}" type="presOf" srcId="{F9272A94-E943-4C86-945F-9E7D0AF6D63B}" destId="{56CC7125-0E29-4712-8D53-8DC56D42FF29}" srcOrd="0" destOrd="0" presId="urn:microsoft.com/office/officeart/2008/layout/NameandTitleOrganizationalChart"/>
    <dgm:cxn modelId="{B3929B82-1924-4E0A-8EA2-157D5B1A29ED}" type="presOf" srcId="{5FDD30C7-3F1D-48BA-AF3D-0CD488D13A2E}" destId="{053374C8-8DCA-4AFE-A140-CEEC3EB4697D}" srcOrd="0" destOrd="0" presId="urn:microsoft.com/office/officeart/2008/layout/NameandTitleOrganizationalChart"/>
    <dgm:cxn modelId="{8F12E76B-1386-40B1-B9D7-42E6C119195B}" type="presOf" srcId="{46B54ACF-93D2-4E4A-81B4-4020B56EED66}" destId="{8DD2BD33-E22E-4BED-9838-CB08DFF98A41}" srcOrd="0" destOrd="0" presId="urn:microsoft.com/office/officeart/2008/layout/NameandTitleOrganizationalChart"/>
    <dgm:cxn modelId="{05219F3E-3337-4FC6-829F-D0EB598DA83A}" type="presOf" srcId="{8B05B13D-4FD5-478C-8397-278E05A8B3A4}" destId="{74B5C61F-5036-456C-A892-8863C0FF7F21}" srcOrd="1" destOrd="0" presId="urn:microsoft.com/office/officeart/2008/layout/NameandTitleOrganizationalChart"/>
    <dgm:cxn modelId="{23FF044E-DF7D-4E0E-8AE2-20A9D856B205}" type="presOf" srcId="{556F4279-4E5B-4B16-B3B8-92C59A3C2A22}" destId="{E97BA162-AE90-42AB-986C-E34DA9A1FD31}" srcOrd="0" destOrd="0" presId="urn:microsoft.com/office/officeart/2008/layout/NameandTitleOrganizationalChart"/>
    <dgm:cxn modelId="{F89368BB-85D0-4C1B-AC36-6FAE2DC514FE}" type="presOf" srcId="{03142A97-D197-4BF6-9B90-0A874066453A}" destId="{41722D81-0BCA-4ADE-B431-AA5C7B51B8B4}" srcOrd="0" destOrd="0" presId="urn:microsoft.com/office/officeart/2008/layout/NameandTitleOrganizationalChart"/>
    <dgm:cxn modelId="{816B42E2-85D4-45E0-8EAD-64F470FE8D5E}" type="presOf" srcId="{E856E615-0503-4B0E-960E-31630859AFF1}" destId="{51F10AF7-4E2E-4E0D-828C-42391D54A564}" srcOrd="0" destOrd="0" presId="urn:microsoft.com/office/officeart/2008/layout/NameandTitleOrganizationalChart"/>
    <dgm:cxn modelId="{1C8306AA-2C26-461B-88EF-4617E9B06FAF}" srcId="{AA6CD443-86FF-4183-BB55-4C128552DFC0}" destId="{D2F46840-79E4-4EAA-BEE6-C3E39AB2C3BB}" srcOrd="1" destOrd="0" parTransId="{1DC2697E-382C-4701-9BB8-6B11637AAE03}" sibTransId="{1D620FAD-941E-4163-8400-98E41742243C}"/>
    <dgm:cxn modelId="{E7E43F15-8B62-43E5-BDA7-B5C0CD0BA376}" type="presOf" srcId="{1874289D-BBB9-4735-A7BD-C613BBDD9B5E}" destId="{A7950F15-6581-4274-AC25-076E2946EE98}" srcOrd="0" destOrd="0" presId="urn:microsoft.com/office/officeart/2008/layout/NameandTitleOrganizationalChart"/>
    <dgm:cxn modelId="{4AA494BC-C292-46EC-8256-1CA2A7328F59}" type="presOf" srcId="{94EB1531-6523-4952-BEBF-5162BB774894}" destId="{D190B0FE-A5D3-4D29-8D44-FC58BBC73060}" srcOrd="1" destOrd="0" presId="urn:microsoft.com/office/officeart/2008/layout/NameandTitleOrganizationalChart"/>
    <dgm:cxn modelId="{6D1CB6B2-AAA3-429F-A5A9-E3E3566229B5}" srcId="{65A9B2C3-ED14-4F11-AD33-EA0D8EA1621B}" destId="{7241ACF9-0DFA-4479-A202-D9578BFF170B}" srcOrd="0" destOrd="0" parTransId="{95F7E176-746C-4DA8-B957-B41B55AF94D9}" sibTransId="{6295108A-E628-4005-8540-AA5DC5BE06F2}"/>
    <dgm:cxn modelId="{2E928537-907B-40F6-8D2C-E727CC45F3DF}" type="presOf" srcId="{5856B657-D8F6-4AE8-9A85-9D2CB091D033}" destId="{7E990F88-3AAE-499C-A89C-0757FA631442}" srcOrd="0" destOrd="0" presId="urn:microsoft.com/office/officeart/2008/layout/NameandTitleOrganizationalChart"/>
    <dgm:cxn modelId="{377064F5-5B1A-4CF0-9EAB-98FBAF371CC5}" type="presParOf" srcId="{845E6649-DB73-4C3B-A81F-DCD945F5C92F}" destId="{EEFBEEAA-F5F3-4095-8F4A-8163865279F8}" srcOrd="0" destOrd="0" presId="urn:microsoft.com/office/officeart/2008/layout/NameandTitleOrganizationalChart"/>
    <dgm:cxn modelId="{64FDCDC5-C2E7-4D22-BB33-D61374542271}" type="presParOf" srcId="{EEFBEEAA-F5F3-4095-8F4A-8163865279F8}" destId="{32E03310-8D03-475D-AD06-0E715F35FCF7}" srcOrd="0" destOrd="0" presId="urn:microsoft.com/office/officeart/2008/layout/NameandTitleOrganizationalChart"/>
    <dgm:cxn modelId="{CD315DD3-3FC9-43D8-BE4E-0678FDC169D4}" type="presParOf" srcId="{32E03310-8D03-475D-AD06-0E715F35FCF7}" destId="{34CFB2D3-86FD-4120-B3DD-8F35B1C582AF}" srcOrd="0" destOrd="0" presId="urn:microsoft.com/office/officeart/2008/layout/NameandTitleOrganizationalChart"/>
    <dgm:cxn modelId="{028BC30A-E6A8-4726-9C96-F48ED008790B}" type="presParOf" srcId="{32E03310-8D03-475D-AD06-0E715F35FCF7}" destId="{74E3AC88-DD94-4480-87AE-C92D37D2DD55}" srcOrd="1" destOrd="0" presId="urn:microsoft.com/office/officeart/2008/layout/NameandTitleOrganizationalChart"/>
    <dgm:cxn modelId="{09278862-22A2-45CB-9002-CBBBE785344C}" type="presParOf" srcId="{32E03310-8D03-475D-AD06-0E715F35FCF7}" destId="{74B5C61F-5036-456C-A892-8863C0FF7F21}" srcOrd="2" destOrd="0" presId="urn:microsoft.com/office/officeart/2008/layout/NameandTitleOrganizationalChart"/>
    <dgm:cxn modelId="{86FC8552-E234-4B28-AB33-CEA16A2C3D34}" type="presParOf" srcId="{EEFBEEAA-F5F3-4095-8F4A-8163865279F8}" destId="{12FF31B3-25B8-4ADC-A489-25E8DBE717CC}" srcOrd="1" destOrd="0" presId="urn:microsoft.com/office/officeart/2008/layout/NameandTitleOrganizationalChart"/>
    <dgm:cxn modelId="{013D1666-13E3-442C-9047-A6094EBBF07C}" type="presParOf" srcId="{12FF31B3-25B8-4ADC-A489-25E8DBE717CC}" destId="{87D669C7-970D-45AA-B46C-09FE715E5B0B}" srcOrd="0" destOrd="0" presId="urn:microsoft.com/office/officeart/2008/layout/NameandTitleOrganizationalChart"/>
    <dgm:cxn modelId="{2B3EEA6F-4CE4-4347-A92A-94C0563AA447}" type="presParOf" srcId="{12FF31B3-25B8-4ADC-A489-25E8DBE717CC}" destId="{A4542736-D2F7-4122-9F09-10505CA4DAF7}" srcOrd="1" destOrd="0" presId="urn:microsoft.com/office/officeart/2008/layout/NameandTitleOrganizationalChart"/>
    <dgm:cxn modelId="{C68518EA-4D9C-4344-91DD-FB11C64A73A0}" type="presParOf" srcId="{A4542736-D2F7-4122-9F09-10505CA4DAF7}" destId="{3D0FABB7-B904-488E-8F4D-E14A1E2AE9EE}" srcOrd="0" destOrd="0" presId="urn:microsoft.com/office/officeart/2008/layout/NameandTitleOrganizationalChart"/>
    <dgm:cxn modelId="{B9B1F67E-3BC5-42B4-8397-8B4D49CC6276}" type="presParOf" srcId="{3D0FABB7-B904-488E-8F4D-E14A1E2AE9EE}" destId="{8EE35D8B-BEB4-45A9-B5AF-E76DC893500D}" srcOrd="0" destOrd="0" presId="urn:microsoft.com/office/officeart/2008/layout/NameandTitleOrganizationalChart"/>
    <dgm:cxn modelId="{DDEFAE94-FE23-4F94-AFFA-FEEF58526B5D}" type="presParOf" srcId="{3D0FABB7-B904-488E-8F4D-E14A1E2AE9EE}" destId="{20B44729-766A-48D7-87ED-AD75AF456AA8}" srcOrd="1" destOrd="0" presId="urn:microsoft.com/office/officeart/2008/layout/NameandTitleOrganizationalChart"/>
    <dgm:cxn modelId="{91850CAA-3C20-4F35-9180-380B3676AAC7}" type="presParOf" srcId="{3D0FABB7-B904-488E-8F4D-E14A1E2AE9EE}" destId="{0F29F473-C0C5-4D9F-8222-B10E26715CF2}" srcOrd="2" destOrd="0" presId="urn:microsoft.com/office/officeart/2008/layout/NameandTitleOrganizationalChart"/>
    <dgm:cxn modelId="{934E13AF-4060-4C0D-8ECF-3D439994A266}" type="presParOf" srcId="{A4542736-D2F7-4122-9F09-10505CA4DAF7}" destId="{E4C74A03-F752-4785-A738-2DA8CF8B87F3}" srcOrd="1" destOrd="0" presId="urn:microsoft.com/office/officeart/2008/layout/NameandTitleOrganizationalChart"/>
    <dgm:cxn modelId="{EE243F94-E882-4FE5-9A2B-D84363A05623}" type="presParOf" srcId="{E4C74A03-F752-4785-A738-2DA8CF8B87F3}" destId="{20BA6823-96A8-45AE-A0BD-0E4D2CBAF337}" srcOrd="0" destOrd="0" presId="urn:microsoft.com/office/officeart/2008/layout/NameandTitleOrganizationalChart"/>
    <dgm:cxn modelId="{8D3ED07E-1F47-4D0A-A3C7-BBF7C7124D30}" type="presParOf" srcId="{E4C74A03-F752-4785-A738-2DA8CF8B87F3}" destId="{770AD1CE-186B-41EB-822A-2757C704324F}" srcOrd="1" destOrd="0" presId="urn:microsoft.com/office/officeart/2008/layout/NameandTitleOrganizationalChart"/>
    <dgm:cxn modelId="{501DC9C4-7DB3-4559-9484-9B58E7EC2656}" type="presParOf" srcId="{770AD1CE-186B-41EB-822A-2757C704324F}" destId="{98C8BEF4-2BC8-4876-8B77-4D6CF38175FF}" srcOrd="0" destOrd="0" presId="urn:microsoft.com/office/officeart/2008/layout/NameandTitleOrganizationalChart"/>
    <dgm:cxn modelId="{44E53721-9CFE-4E46-81BB-13F12E1B908C}" type="presParOf" srcId="{98C8BEF4-2BC8-4876-8B77-4D6CF38175FF}" destId="{BC8B3DF1-562F-4D1A-A638-8282CCC686DE}" srcOrd="0" destOrd="0" presId="urn:microsoft.com/office/officeart/2008/layout/NameandTitleOrganizationalChart"/>
    <dgm:cxn modelId="{5BB985F1-B7DE-40F4-B55D-F0071641B1F3}" type="presParOf" srcId="{98C8BEF4-2BC8-4876-8B77-4D6CF38175FF}" destId="{80165394-711B-43B1-BC7E-B954EBD4D7EB}" srcOrd="1" destOrd="0" presId="urn:microsoft.com/office/officeart/2008/layout/NameandTitleOrganizationalChart"/>
    <dgm:cxn modelId="{05AC378A-6DD8-4676-9B66-D8CD1818A53B}" type="presParOf" srcId="{98C8BEF4-2BC8-4876-8B77-4D6CF38175FF}" destId="{AE2B1AB8-3E93-4700-858B-588DE4A970B9}" srcOrd="2" destOrd="0" presId="urn:microsoft.com/office/officeart/2008/layout/NameandTitleOrganizationalChart"/>
    <dgm:cxn modelId="{9E13E9B5-65E9-446A-8057-62BB638599EC}" type="presParOf" srcId="{770AD1CE-186B-41EB-822A-2757C704324F}" destId="{ADBAC5B6-1D83-4BCF-8290-562B9FFE103A}" srcOrd="1" destOrd="0" presId="urn:microsoft.com/office/officeart/2008/layout/NameandTitleOrganizationalChart"/>
    <dgm:cxn modelId="{9D846B92-E90C-490D-9CE0-C73B13F4D5F7}" type="presParOf" srcId="{ADBAC5B6-1D83-4BCF-8290-562B9FFE103A}" destId="{37A1A95A-CEA6-414A-98E2-8B7AE16094D2}" srcOrd="0" destOrd="0" presId="urn:microsoft.com/office/officeart/2008/layout/NameandTitleOrganizationalChart"/>
    <dgm:cxn modelId="{09C7B408-789F-4A78-9C88-F557745FCBC3}" type="presParOf" srcId="{ADBAC5B6-1D83-4BCF-8290-562B9FFE103A}" destId="{F86D6D0E-A154-4E4E-A851-D49DF064B5A7}" srcOrd="1" destOrd="0" presId="urn:microsoft.com/office/officeart/2008/layout/NameandTitleOrganizationalChart"/>
    <dgm:cxn modelId="{398D50AB-656F-46D2-B51E-D6909384B172}" type="presParOf" srcId="{F86D6D0E-A154-4E4E-A851-D49DF064B5A7}" destId="{133FBBF8-9580-4270-B537-AE3E604F35CA}" srcOrd="0" destOrd="0" presId="urn:microsoft.com/office/officeart/2008/layout/NameandTitleOrganizationalChart"/>
    <dgm:cxn modelId="{422A2A0D-6556-46C3-B6AD-6DA1DEAA34FB}" type="presParOf" srcId="{133FBBF8-9580-4270-B537-AE3E604F35CA}" destId="{81A3CB1B-8E65-4473-8FD5-29E36E5FFC61}" srcOrd="0" destOrd="0" presId="urn:microsoft.com/office/officeart/2008/layout/NameandTitleOrganizationalChart"/>
    <dgm:cxn modelId="{B0EEA5B1-FC5F-464D-A170-519301D035B6}" type="presParOf" srcId="{133FBBF8-9580-4270-B537-AE3E604F35CA}" destId="{31640F8C-1863-4DA0-9E98-7F498141E3ED}" srcOrd="1" destOrd="0" presId="urn:microsoft.com/office/officeart/2008/layout/NameandTitleOrganizationalChart"/>
    <dgm:cxn modelId="{3BCEFBC8-00B4-44FD-AA2C-E4854AAEAB06}" type="presParOf" srcId="{133FBBF8-9580-4270-B537-AE3E604F35CA}" destId="{25AEBD71-E2C9-4DAA-823A-5D896F7FEB06}" srcOrd="2" destOrd="0" presId="urn:microsoft.com/office/officeart/2008/layout/NameandTitleOrganizationalChart"/>
    <dgm:cxn modelId="{3865351A-85E1-42CF-978C-10F0CF47E709}" type="presParOf" srcId="{F86D6D0E-A154-4E4E-A851-D49DF064B5A7}" destId="{80B630F7-981D-4C94-A5E5-BBA1B829ACBF}" srcOrd="1" destOrd="0" presId="urn:microsoft.com/office/officeart/2008/layout/NameandTitleOrganizationalChart"/>
    <dgm:cxn modelId="{C4FEE690-94B6-4236-83C4-AEABBAE2DD73}" type="presParOf" srcId="{F86D6D0E-A154-4E4E-A851-D49DF064B5A7}" destId="{5EF3537A-F8C9-49D5-9836-756B97AA905C}" srcOrd="2" destOrd="0" presId="urn:microsoft.com/office/officeart/2008/layout/NameandTitleOrganizationalChart"/>
    <dgm:cxn modelId="{B488DC7B-386C-46A6-8F0F-9EE1A9B4CFB5}" type="presParOf" srcId="{ADBAC5B6-1D83-4BCF-8290-562B9FFE103A}" destId="{87445495-B0AD-4C1D-A4F3-2B7EFD674F9E}" srcOrd="2" destOrd="0" presId="urn:microsoft.com/office/officeart/2008/layout/NameandTitleOrganizationalChart"/>
    <dgm:cxn modelId="{00273EDD-215C-4306-A785-AA4E2927A183}" type="presParOf" srcId="{ADBAC5B6-1D83-4BCF-8290-562B9FFE103A}" destId="{0DCA9792-955E-4218-A9A3-DFE3BBFD0ACA}" srcOrd="3" destOrd="0" presId="urn:microsoft.com/office/officeart/2008/layout/NameandTitleOrganizationalChart"/>
    <dgm:cxn modelId="{057527B8-8ADF-4B6A-82B6-A75FABC4D0D3}" type="presParOf" srcId="{0DCA9792-955E-4218-A9A3-DFE3BBFD0ACA}" destId="{CAF3C0DA-F2C5-4778-8774-C18E64D61074}" srcOrd="0" destOrd="0" presId="urn:microsoft.com/office/officeart/2008/layout/NameandTitleOrganizationalChart"/>
    <dgm:cxn modelId="{3CD97773-B8B2-4E2C-A05D-89E2860610CB}" type="presParOf" srcId="{CAF3C0DA-F2C5-4778-8774-C18E64D61074}" destId="{A7950F15-6581-4274-AC25-076E2946EE98}" srcOrd="0" destOrd="0" presId="urn:microsoft.com/office/officeart/2008/layout/NameandTitleOrganizationalChart"/>
    <dgm:cxn modelId="{2DD57806-8E89-4F25-88E5-54DC5144A079}" type="presParOf" srcId="{CAF3C0DA-F2C5-4778-8774-C18E64D61074}" destId="{8DD2BD33-E22E-4BED-9838-CB08DFF98A41}" srcOrd="1" destOrd="0" presId="urn:microsoft.com/office/officeart/2008/layout/NameandTitleOrganizationalChart"/>
    <dgm:cxn modelId="{A60CAA8C-C326-4BD6-892B-85D7AB13C8C8}" type="presParOf" srcId="{CAF3C0DA-F2C5-4778-8774-C18E64D61074}" destId="{E3971792-2282-4521-8548-5DA284ED322B}" srcOrd="2" destOrd="0" presId="urn:microsoft.com/office/officeart/2008/layout/NameandTitleOrganizationalChart"/>
    <dgm:cxn modelId="{6A57428A-DE0F-4740-8A38-4801B1E2EC06}" type="presParOf" srcId="{0DCA9792-955E-4218-A9A3-DFE3BBFD0ACA}" destId="{4F85D489-50F3-458E-B4F0-FBB17E06CF7F}" srcOrd="1" destOrd="0" presId="urn:microsoft.com/office/officeart/2008/layout/NameandTitleOrganizationalChart"/>
    <dgm:cxn modelId="{9AF7D591-17D4-4627-B22E-893BF347F12E}" type="presParOf" srcId="{0DCA9792-955E-4218-A9A3-DFE3BBFD0ACA}" destId="{A4DB2A69-D4BE-42C1-B912-5EFE99858C7D}" srcOrd="2" destOrd="0" presId="urn:microsoft.com/office/officeart/2008/layout/NameandTitleOrganizationalChart"/>
    <dgm:cxn modelId="{6CC3522C-9F44-4799-81E1-FF35F68B02AB}" type="presParOf" srcId="{770AD1CE-186B-41EB-822A-2757C704324F}" destId="{4A0FC913-E770-4B86-B79C-5AA8F3C4525F}" srcOrd="2" destOrd="0" presId="urn:microsoft.com/office/officeart/2008/layout/NameandTitleOrganizationalChart"/>
    <dgm:cxn modelId="{C372BB7B-A38B-4A8B-AA5C-17322E0D9D94}" type="presParOf" srcId="{E4C74A03-F752-4785-A738-2DA8CF8B87F3}" destId="{E97BA162-AE90-42AB-986C-E34DA9A1FD31}" srcOrd="2" destOrd="0" presId="urn:microsoft.com/office/officeart/2008/layout/NameandTitleOrganizationalChart"/>
    <dgm:cxn modelId="{19A575D0-06FC-49C9-BEC4-3B9C3EA5D40A}" type="presParOf" srcId="{E4C74A03-F752-4785-A738-2DA8CF8B87F3}" destId="{86981327-8A1F-4231-8462-3AD56F26309B}" srcOrd="3" destOrd="0" presId="urn:microsoft.com/office/officeart/2008/layout/NameandTitleOrganizationalChart"/>
    <dgm:cxn modelId="{7B31335E-07E0-4966-A603-B6DDDB378AFD}" type="presParOf" srcId="{86981327-8A1F-4231-8462-3AD56F26309B}" destId="{23B51CD9-AFD7-4D7C-B85F-CE7151F4300B}" srcOrd="0" destOrd="0" presId="urn:microsoft.com/office/officeart/2008/layout/NameandTitleOrganizationalChart"/>
    <dgm:cxn modelId="{91073628-0E6D-4D9D-B239-7052F80BEF2D}" type="presParOf" srcId="{23B51CD9-AFD7-4D7C-B85F-CE7151F4300B}" destId="{549BA040-41D3-4A01-878C-659819A8120D}" srcOrd="0" destOrd="0" presId="urn:microsoft.com/office/officeart/2008/layout/NameandTitleOrganizationalChart"/>
    <dgm:cxn modelId="{E2FB0BBD-E8FB-44C4-BAC7-DE8EDF4295D3}" type="presParOf" srcId="{23B51CD9-AFD7-4D7C-B85F-CE7151F4300B}" destId="{CA9CF75D-F408-4230-9630-73DA2735594D}" srcOrd="1" destOrd="0" presId="urn:microsoft.com/office/officeart/2008/layout/NameandTitleOrganizationalChart"/>
    <dgm:cxn modelId="{67E576A4-166D-475F-A9F1-A77E5C772EE6}" type="presParOf" srcId="{23B51CD9-AFD7-4D7C-B85F-CE7151F4300B}" destId="{70C8D85F-96F9-4466-9DF1-04837DC2DB29}" srcOrd="2" destOrd="0" presId="urn:microsoft.com/office/officeart/2008/layout/NameandTitleOrganizationalChart"/>
    <dgm:cxn modelId="{018F6FDF-00B7-4C46-A4A0-50810D2B061C}" type="presParOf" srcId="{86981327-8A1F-4231-8462-3AD56F26309B}" destId="{D21A30E6-DCC9-4FAB-96E2-43AB72FB6CB2}" srcOrd="1" destOrd="0" presId="urn:microsoft.com/office/officeart/2008/layout/NameandTitleOrganizationalChart"/>
    <dgm:cxn modelId="{CED2DD9E-559F-455F-A6F8-BA30B1354C45}" type="presParOf" srcId="{86981327-8A1F-4231-8462-3AD56F26309B}" destId="{7C281B05-1501-4700-AA67-DDE633E54FA5}" srcOrd="2" destOrd="0" presId="urn:microsoft.com/office/officeart/2008/layout/NameandTitleOrganizationalChart"/>
    <dgm:cxn modelId="{D3FAD46A-E410-4FEC-8708-388C518FDD38}" type="presParOf" srcId="{E4C74A03-F752-4785-A738-2DA8CF8B87F3}" destId="{4FBF8BB0-1CDE-4C33-9019-A7E5597838AC}" srcOrd="4" destOrd="0" presId="urn:microsoft.com/office/officeart/2008/layout/NameandTitleOrganizationalChart"/>
    <dgm:cxn modelId="{9A6D709C-027D-4A1C-BB2D-17F651AA7BE6}" type="presParOf" srcId="{E4C74A03-F752-4785-A738-2DA8CF8B87F3}" destId="{FF04B11F-40AE-443D-9B99-D7EC4BAB569E}" srcOrd="5" destOrd="0" presId="urn:microsoft.com/office/officeart/2008/layout/NameandTitleOrganizationalChart"/>
    <dgm:cxn modelId="{15AA439F-F3A5-43F0-B924-3D01B9534DDF}" type="presParOf" srcId="{FF04B11F-40AE-443D-9B99-D7EC4BAB569E}" destId="{FA3A0DD2-5ADB-44A7-BBE4-6BB71DECA53D}" srcOrd="0" destOrd="0" presId="urn:microsoft.com/office/officeart/2008/layout/NameandTitleOrganizationalChart"/>
    <dgm:cxn modelId="{B6779D3B-4186-436E-B0EC-C2A5687871CD}" type="presParOf" srcId="{FA3A0DD2-5ADB-44A7-BBE4-6BB71DECA53D}" destId="{C8FF8BF7-F757-4140-9668-BE763F17D813}" srcOrd="0" destOrd="0" presId="urn:microsoft.com/office/officeart/2008/layout/NameandTitleOrganizationalChart"/>
    <dgm:cxn modelId="{D62F5984-E7FE-49FE-B5BF-669BE91161B0}" type="presParOf" srcId="{FA3A0DD2-5ADB-44A7-BBE4-6BB71DECA53D}" destId="{07BAC14D-A941-443C-831F-668E8DB2ED27}" srcOrd="1" destOrd="0" presId="urn:microsoft.com/office/officeart/2008/layout/NameandTitleOrganizationalChart"/>
    <dgm:cxn modelId="{58D042D1-2CF9-415F-8980-299BC5A4710F}" type="presParOf" srcId="{FA3A0DD2-5ADB-44A7-BBE4-6BB71DECA53D}" destId="{E69B5A33-F06C-4416-9940-9B32584F510A}" srcOrd="2" destOrd="0" presId="urn:microsoft.com/office/officeart/2008/layout/NameandTitleOrganizationalChart"/>
    <dgm:cxn modelId="{116532D5-F2BA-4F85-B67C-AB90A7F04A61}" type="presParOf" srcId="{FF04B11F-40AE-443D-9B99-D7EC4BAB569E}" destId="{DC3DF9E7-3A9C-45E6-8062-4DAE4BFD3502}" srcOrd="1" destOrd="0" presId="urn:microsoft.com/office/officeart/2008/layout/NameandTitleOrganizationalChart"/>
    <dgm:cxn modelId="{07198BA7-511F-45C9-AF40-06B28B80A5B0}" type="presParOf" srcId="{FF04B11F-40AE-443D-9B99-D7EC4BAB569E}" destId="{A8032F30-7721-4D43-B285-63FE04CEB0C5}" srcOrd="2" destOrd="0" presId="urn:microsoft.com/office/officeart/2008/layout/NameandTitleOrganizationalChart"/>
    <dgm:cxn modelId="{FE95CE32-2A2B-494F-A469-3A2EB43C43E0}" type="presParOf" srcId="{A4542736-D2F7-4122-9F09-10505CA4DAF7}" destId="{4C7DEC89-F441-44F9-B805-33704B729EC7}" srcOrd="2" destOrd="0" presId="urn:microsoft.com/office/officeart/2008/layout/NameandTitleOrganizationalChart"/>
    <dgm:cxn modelId="{12B6BAF0-527A-4194-B907-7BAD22BB8303}" type="presParOf" srcId="{12FF31B3-25B8-4ADC-A489-25E8DBE717CC}" destId="{165BC65E-2DDD-4012-B9EC-32CD0A19D081}" srcOrd="2" destOrd="0" presId="urn:microsoft.com/office/officeart/2008/layout/NameandTitleOrganizationalChart"/>
    <dgm:cxn modelId="{734F9A65-0EB8-45B1-9D28-025729B7B2A3}" type="presParOf" srcId="{12FF31B3-25B8-4ADC-A489-25E8DBE717CC}" destId="{B2E6313B-F477-48A1-B50A-173CD4DEBFBF}" srcOrd="3" destOrd="0" presId="urn:microsoft.com/office/officeart/2008/layout/NameandTitleOrganizationalChart"/>
    <dgm:cxn modelId="{228E5618-5839-4805-A4F0-10CE87CA426C}" type="presParOf" srcId="{B2E6313B-F477-48A1-B50A-173CD4DEBFBF}" destId="{54684387-4B41-45D0-91E7-DF48FF464787}" srcOrd="0" destOrd="0" presId="urn:microsoft.com/office/officeart/2008/layout/NameandTitleOrganizationalChart"/>
    <dgm:cxn modelId="{8B01C0D8-FEAC-4C23-94D2-AE2E67A90CEA}" type="presParOf" srcId="{54684387-4B41-45D0-91E7-DF48FF464787}" destId="{C2C30035-9241-474B-AFC5-1CA1655D1A2F}" srcOrd="0" destOrd="0" presId="urn:microsoft.com/office/officeart/2008/layout/NameandTitleOrganizationalChart"/>
    <dgm:cxn modelId="{00B42E7C-7F69-49D7-A843-A86F4CD40EC5}" type="presParOf" srcId="{54684387-4B41-45D0-91E7-DF48FF464787}" destId="{56CC7125-0E29-4712-8D53-8DC56D42FF29}" srcOrd="1" destOrd="0" presId="urn:microsoft.com/office/officeart/2008/layout/NameandTitleOrganizationalChart"/>
    <dgm:cxn modelId="{044AE1C9-8DC9-47CC-813F-C6B0026B2CA9}" type="presParOf" srcId="{54684387-4B41-45D0-91E7-DF48FF464787}" destId="{6A148A87-7624-4BD6-9A9B-5644CC5C9443}" srcOrd="2" destOrd="0" presId="urn:microsoft.com/office/officeart/2008/layout/NameandTitleOrganizationalChart"/>
    <dgm:cxn modelId="{8A2BB74E-6A3F-4F91-9603-8CEDD8487B59}" type="presParOf" srcId="{B2E6313B-F477-48A1-B50A-173CD4DEBFBF}" destId="{EAA5D3E8-9B94-42B5-9318-AC50F1360854}" srcOrd="1" destOrd="0" presId="urn:microsoft.com/office/officeart/2008/layout/NameandTitleOrganizationalChart"/>
    <dgm:cxn modelId="{D664DB4A-C910-403C-AAC9-4925B666C43A}" type="presParOf" srcId="{EAA5D3E8-9B94-42B5-9318-AC50F1360854}" destId="{268D79AA-ED07-4BCD-93D4-B9B00BF3A02D}" srcOrd="0" destOrd="0" presId="urn:microsoft.com/office/officeart/2008/layout/NameandTitleOrganizationalChart"/>
    <dgm:cxn modelId="{E3B8983D-2747-4758-B0F5-681B55A62BA5}" type="presParOf" srcId="{EAA5D3E8-9B94-42B5-9318-AC50F1360854}" destId="{18A86410-8240-4777-8D3B-1DF5823B565F}" srcOrd="1" destOrd="0" presId="urn:microsoft.com/office/officeart/2008/layout/NameandTitleOrganizationalChart"/>
    <dgm:cxn modelId="{8D632B2A-76FD-49C7-A00F-668DD85EC027}" type="presParOf" srcId="{18A86410-8240-4777-8D3B-1DF5823B565F}" destId="{FD2059D1-F7A5-455B-B61A-52C4AC6B2890}" srcOrd="0" destOrd="0" presId="urn:microsoft.com/office/officeart/2008/layout/NameandTitleOrganizationalChart"/>
    <dgm:cxn modelId="{C534A81C-B1CB-4A6B-85F0-E2EB883CE746}" type="presParOf" srcId="{FD2059D1-F7A5-455B-B61A-52C4AC6B2890}" destId="{A808A965-EC41-4DC7-92DB-57AD0ED6656A}" srcOrd="0" destOrd="0" presId="urn:microsoft.com/office/officeart/2008/layout/NameandTitleOrganizationalChart"/>
    <dgm:cxn modelId="{E1A11872-FC71-4E2C-97AB-7995524AC077}" type="presParOf" srcId="{FD2059D1-F7A5-455B-B61A-52C4AC6B2890}" destId="{0E14B893-EADA-445F-8D6E-0D3515BAE7F7}" srcOrd="1" destOrd="0" presId="urn:microsoft.com/office/officeart/2008/layout/NameandTitleOrganizationalChart"/>
    <dgm:cxn modelId="{A8BD5559-8D8B-4876-80F2-D603F7EE4C28}" type="presParOf" srcId="{FD2059D1-F7A5-455B-B61A-52C4AC6B2890}" destId="{7AD53DCC-91ED-44C2-9DF3-DB6428293726}" srcOrd="2" destOrd="0" presId="urn:microsoft.com/office/officeart/2008/layout/NameandTitleOrganizationalChart"/>
    <dgm:cxn modelId="{F0CC06AC-F798-47EF-8694-83D835CFD667}" type="presParOf" srcId="{18A86410-8240-4777-8D3B-1DF5823B565F}" destId="{7D3BEF84-E76B-4124-8F55-D283EB4215C9}" srcOrd="1" destOrd="0" presId="urn:microsoft.com/office/officeart/2008/layout/NameandTitleOrganizationalChart"/>
    <dgm:cxn modelId="{001E8C44-CFDF-4C05-9884-AD62BB7A9DE8}" type="presParOf" srcId="{7D3BEF84-E76B-4124-8F55-D283EB4215C9}" destId="{0E879A47-455A-45FC-9976-2FA1074788F4}" srcOrd="0" destOrd="0" presId="urn:microsoft.com/office/officeart/2008/layout/NameandTitleOrganizationalChart"/>
    <dgm:cxn modelId="{91CD8013-093B-4561-8648-198F5FD05A4D}" type="presParOf" srcId="{7D3BEF84-E76B-4124-8F55-D283EB4215C9}" destId="{38A14BE1-9A3D-4F18-BFB8-0F4AC19B06BE}" srcOrd="1" destOrd="0" presId="urn:microsoft.com/office/officeart/2008/layout/NameandTitleOrganizationalChart"/>
    <dgm:cxn modelId="{3F80B792-12C5-45D6-8D97-995EFE6B4929}" type="presParOf" srcId="{38A14BE1-9A3D-4F18-BFB8-0F4AC19B06BE}" destId="{3D77A845-441A-4474-BEEC-26C95E88614E}" srcOrd="0" destOrd="0" presId="urn:microsoft.com/office/officeart/2008/layout/NameandTitleOrganizationalChart"/>
    <dgm:cxn modelId="{F20FA98E-7444-4467-ADA7-8F3E03663A66}" type="presParOf" srcId="{3D77A845-441A-4474-BEEC-26C95E88614E}" destId="{41722D81-0BCA-4ADE-B431-AA5C7B51B8B4}" srcOrd="0" destOrd="0" presId="urn:microsoft.com/office/officeart/2008/layout/NameandTitleOrganizationalChart"/>
    <dgm:cxn modelId="{D4B07395-1247-4B2D-980A-9F09101C3915}" type="presParOf" srcId="{3D77A845-441A-4474-BEEC-26C95E88614E}" destId="{E45EC5C4-6829-4D5C-AD72-336A92EC1509}" srcOrd="1" destOrd="0" presId="urn:microsoft.com/office/officeart/2008/layout/NameandTitleOrganizationalChart"/>
    <dgm:cxn modelId="{531C9F66-5407-4AF6-87F4-1509F942696B}" type="presParOf" srcId="{3D77A845-441A-4474-BEEC-26C95E88614E}" destId="{CB551D01-C85E-409B-BBBC-DFE546C8B57A}" srcOrd="2" destOrd="0" presId="urn:microsoft.com/office/officeart/2008/layout/NameandTitleOrganizationalChart"/>
    <dgm:cxn modelId="{CED92275-9A82-4468-8E97-D5FF6877B482}" type="presParOf" srcId="{38A14BE1-9A3D-4F18-BFB8-0F4AC19B06BE}" destId="{BE7DF502-1A89-40F4-8810-7EF7624C7EB8}" srcOrd="1" destOrd="0" presId="urn:microsoft.com/office/officeart/2008/layout/NameandTitleOrganizationalChart"/>
    <dgm:cxn modelId="{BEE76A0E-AB02-4229-A3DB-12CDF5E46F49}" type="presParOf" srcId="{38A14BE1-9A3D-4F18-BFB8-0F4AC19B06BE}" destId="{58BA5745-DA5F-451B-800F-AC16EB5C5B33}" srcOrd="2" destOrd="0" presId="urn:microsoft.com/office/officeart/2008/layout/NameandTitleOrganizationalChart"/>
    <dgm:cxn modelId="{E5BC23E5-4A43-4690-8342-3080BA8B0F0B}" type="presParOf" srcId="{7D3BEF84-E76B-4124-8F55-D283EB4215C9}" destId="{4F2C7F76-32F4-47B7-A863-C89ADB9A0913}" srcOrd="2" destOrd="0" presId="urn:microsoft.com/office/officeart/2008/layout/NameandTitleOrganizationalChart"/>
    <dgm:cxn modelId="{49EBDE04-FF04-49CD-BAB4-EC8EFEE8B52A}" type="presParOf" srcId="{7D3BEF84-E76B-4124-8F55-D283EB4215C9}" destId="{621DE0C7-11D6-41B8-AE9F-0D1508DA91A3}" srcOrd="3" destOrd="0" presId="urn:microsoft.com/office/officeart/2008/layout/NameandTitleOrganizationalChart"/>
    <dgm:cxn modelId="{1944DC1A-A886-4EC1-B829-349BD06AE340}" type="presParOf" srcId="{621DE0C7-11D6-41B8-AE9F-0D1508DA91A3}" destId="{FA0EECFB-8260-4D08-88F3-12561D9A4ECE}" srcOrd="0" destOrd="0" presId="urn:microsoft.com/office/officeart/2008/layout/NameandTitleOrganizationalChart"/>
    <dgm:cxn modelId="{227B117C-AFFB-4A59-BE5C-341F8072FB79}" type="presParOf" srcId="{FA0EECFB-8260-4D08-88F3-12561D9A4ECE}" destId="{3869E2A7-755B-405A-A648-4F604E7972C1}" srcOrd="0" destOrd="0" presId="urn:microsoft.com/office/officeart/2008/layout/NameandTitleOrganizationalChart"/>
    <dgm:cxn modelId="{0626826B-87BD-4528-A8BF-0525512ADC98}" type="presParOf" srcId="{FA0EECFB-8260-4D08-88F3-12561D9A4ECE}" destId="{EBFEF5E8-460E-4117-83D4-6774E85EF7CF}" srcOrd="1" destOrd="0" presId="urn:microsoft.com/office/officeart/2008/layout/NameandTitleOrganizationalChart"/>
    <dgm:cxn modelId="{70819F65-E1CE-402E-B161-80658C4D7E9C}" type="presParOf" srcId="{FA0EECFB-8260-4D08-88F3-12561D9A4ECE}" destId="{D190B0FE-A5D3-4D29-8D44-FC58BBC73060}" srcOrd="2" destOrd="0" presId="urn:microsoft.com/office/officeart/2008/layout/NameandTitleOrganizationalChart"/>
    <dgm:cxn modelId="{8FE6A16C-44A3-4494-9434-325DE4DF0A3A}" type="presParOf" srcId="{621DE0C7-11D6-41B8-AE9F-0D1508DA91A3}" destId="{139BF659-A8C7-40EF-9A5C-D81AEF850469}" srcOrd="1" destOrd="0" presId="urn:microsoft.com/office/officeart/2008/layout/NameandTitleOrganizationalChart"/>
    <dgm:cxn modelId="{925BE006-D6E4-4CAA-9C52-3A0B63922BB2}" type="presParOf" srcId="{621DE0C7-11D6-41B8-AE9F-0D1508DA91A3}" destId="{9C6FD797-5655-4414-BFDA-EC790B83C223}" srcOrd="2" destOrd="0" presId="urn:microsoft.com/office/officeart/2008/layout/NameandTitleOrganizationalChart"/>
    <dgm:cxn modelId="{5ACFE232-4871-432E-AAA9-32C8A77A21E1}" type="presParOf" srcId="{18A86410-8240-4777-8D3B-1DF5823B565F}" destId="{29A9513D-0E1D-4C5C-9942-D1912E6BC6D4}" srcOrd="2" destOrd="0" presId="urn:microsoft.com/office/officeart/2008/layout/NameandTitleOrganizationalChart"/>
    <dgm:cxn modelId="{843A0BAD-B49A-4278-9449-B1808DCABA5E}" type="presParOf" srcId="{EAA5D3E8-9B94-42B5-9318-AC50F1360854}" destId="{A7CD477B-BE56-4ADF-B821-B7A48A4F8874}" srcOrd="2" destOrd="0" presId="urn:microsoft.com/office/officeart/2008/layout/NameandTitleOrganizationalChart"/>
    <dgm:cxn modelId="{DA9887FB-D4F6-46C2-A06B-BB1335FE1AF2}" type="presParOf" srcId="{EAA5D3E8-9B94-42B5-9318-AC50F1360854}" destId="{114591B4-85AC-428F-A675-7340178D8E89}" srcOrd="3" destOrd="0" presId="urn:microsoft.com/office/officeart/2008/layout/NameandTitleOrganizationalChart"/>
    <dgm:cxn modelId="{196DF786-7851-44B0-AA1A-F3A997FEA5A3}" type="presParOf" srcId="{114591B4-85AC-428F-A675-7340178D8E89}" destId="{C211EDAA-2A04-485F-B92F-82BE1C7C4A5E}" srcOrd="0" destOrd="0" presId="urn:microsoft.com/office/officeart/2008/layout/NameandTitleOrganizationalChart"/>
    <dgm:cxn modelId="{06237BFD-8AB2-4F0B-9F96-EE2CA890A126}" type="presParOf" srcId="{C211EDAA-2A04-485F-B92F-82BE1C7C4A5E}" destId="{C12AC7B1-2875-4FDA-8F7A-08321A657A2F}" srcOrd="0" destOrd="0" presId="urn:microsoft.com/office/officeart/2008/layout/NameandTitleOrganizationalChart"/>
    <dgm:cxn modelId="{903EBC34-6631-4DD0-A07E-480732F99498}" type="presParOf" srcId="{C211EDAA-2A04-485F-B92F-82BE1C7C4A5E}" destId="{053374C8-8DCA-4AFE-A140-CEEC3EB4697D}" srcOrd="1" destOrd="0" presId="urn:microsoft.com/office/officeart/2008/layout/NameandTitleOrganizationalChart"/>
    <dgm:cxn modelId="{5BD7BD83-57DF-4C8F-9FDF-82A91B3D8AB7}" type="presParOf" srcId="{C211EDAA-2A04-485F-B92F-82BE1C7C4A5E}" destId="{8D11ED8C-5B94-4B5E-AA16-687BC4308502}" srcOrd="2" destOrd="0" presId="urn:microsoft.com/office/officeart/2008/layout/NameandTitleOrganizationalChart"/>
    <dgm:cxn modelId="{AAEBE5F6-0F38-4E8B-AE58-A0E7B7FCCF0E}" type="presParOf" srcId="{114591B4-85AC-428F-A675-7340178D8E89}" destId="{10EE5EAF-C0EB-42DB-9A70-737F636AA6F8}" srcOrd="1" destOrd="0" presId="urn:microsoft.com/office/officeart/2008/layout/NameandTitleOrganizationalChart"/>
    <dgm:cxn modelId="{6A0958B3-288F-4A56-AC04-A0E24BDAE80E}" type="presParOf" srcId="{114591B4-85AC-428F-A675-7340178D8E89}" destId="{59266FFE-DE65-4BD9-B537-0AF054369FF2}" srcOrd="2" destOrd="0" presId="urn:microsoft.com/office/officeart/2008/layout/NameandTitleOrganizationalChart"/>
    <dgm:cxn modelId="{57FDD8D2-CD10-4884-AC0D-B75147713DFB}" type="presParOf" srcId="{EAA5D3E8-9B94-42B5-9318-AC50F1360854}" destId="{BD6272B6-7828-40A4-BD4F-D1B149E42C97}" srcOrd="4" destOrd="0" presId="urn:microsoft.com/office/officeart/2008/layout/NameandTitleOrganizationalChart"/>
    <dgm:cxn modelId="{C221B364-0593-4CD4-B6F0-B7B6571AC3D4}" type="presParOf" srcId="{EAA5D3E8-9B94-42B5-9318-AC50F1360854}" destId="{7745AEBA-29A2-47D1-A9EE-10FE08A0D43A}" srcOrd="5" destOrd="0" presId="urn:microsoft.com/office/officeart/2008/layout/NameandTitleOrganizationalChart"/>
    <dgm:cxn modelId="{374A8A77-3C7B-4B3D-BAB3-A2FED386F8B7}" type="presParOf" srcId="{7745AEBA-29A2-47D1-A9EE-10FE08A0D43A}" destId="{A0727C39-1FA0-4962-8243-12CCA0A5085C}" srcOrd="0" destOrd="0" presId="urn:microsoft.com/office/officeart/2008/layout/NameandTitleOrganizationalChart"/>
    <dgm:cxn modelId="{7137DB84-3E1F-40E6-8A2E-7C53A739C3F7}" type="presParOf" srcId="{A0727C39-1FA0-4962-8243-12CCA0A5085C}" destId="{FC440CED-6F74-4356-8DD1-5422C26ED312}" srcOrd="0" destOrd="0" presId="urn:microsoft.com/office/officeart/2008/layout/NameandTitleOrganizationalChart"/>
    <dgm:cxn modelId="{5602CA70-BBC5-4A56-9CD4-E41D559F0F67}" type="presParOf" srcId="{A0727C39-1FA0-4962-8243-12CCA0A5085C}" destId="{7E990F88-3AAE-499C-A89C-0757FA631442}" srcOrd="1" destOrd="0" presId="urn:microsoft.com/office/officeart/2008/layout/NameandTitleOrganizationalChart"/>
    <dgm:cxn modelId="{1D5ADB12-5870-48EC-9457-96423018FC1E}" type="presParOf" srcId="{A0727C39-1FA0-4962-8243-12CCA0A5085C}" destId="{81EF22F4-FFA7-48BB-B853-472A767400A1}" srcOrd="2" destOrd="0" presId="urn:microsoft.com/office/officeart/2008/layout/NameandTitleOrganizationalChart"/>
    <dgm:cxn modelId="{DD27E469-F138-449F-BB87-BF9783172B0A}" type="presParOf" srcId="{7745AEBA-29A2-47D1-A9EE-10FE08A0D43A}" destId="{ABBC3761-F96E-466F-9867-0528EEE465DE}" srcOrd="1" destOrd="0" presId="urn:microsoft.com/office/officeart/2008/layout/NameandTitleOrganizationalChart"/>
    <dgm:cxn modelId="{EC8D5E92-5518-4009-A451-30AEA89CB839}" type="presParOf" srcId="{ABBC3761-F96E-466F-9867-0528EEE465DE}" destId="{7BF5C392-A159-4EA8-8E65-D57879BFDC32}" srcOrd="0" destOrd="0" presId="urn:microsoft.com/office/officeart/2008/layout/NameandTitleOrganizationalChart"/>
    <dgm:cxn modelId="{31C9771F-B0CF-426F-ADBE-E24DBD95A2FD}" type="presParOf" srcId="{ABBC3761-F96E-466F-9867-0528EEE465DE}" destId="{F455EC18-0E82-4C56-AE5E-7C0A4B8E33C0}" srcOrd="1" destOrd="0" presId="urn:microsoft.com/office/officeart/2008/layout/NameandTitleOrganizationalChart"/>
    <dgm:cxn modelId="{BD57EC49-6507-442E-9BA2-36AF06CF4880}" type="presParOf" srcId="{F455EC18-0E82-4C56-AE5E-7C0A4B8E33C0}" destId="{282EB8AC-7DE7-4B6C-A875-9B5310CD2101}" srcOrd="0" destOrd="0" presId="urn:microsoft.com/office/officeart/2008/layout/NameandTitleOrganizationalChart"/>
    <dgm:cxn modelId="{B0F5009B-4FA1-48FE-852C-8715898EFF5E}" type="presParOf" srcId="{282EB8AC-7DE7-4B6C-A875-9B5310CD2101}" destId="{8969A560-A00C-422E-AF53-E1A16D840F32}" srcOrd="0" destOrd="0" presId="urn:microsoft.com/office/officeart/2008/layout/NameandTitleOrganizationalChart"/>
    <dgm:cxn modelId="{CDF58F89-A19F-4ECC-B32A-E645A64F757F}" type="presParOf" srcId="{282EB8AC-7DE7-4B6C-A875-9B5310CD2101}" destId="{8F1D18B6-9109-4441-BB8B-9E8E7B89C1E7}" srcOrd="1" destOrd="0" presId="urn:microsoft.com/office/officeart/2008/layout/NameandTitleOrganizationalChart"/>
    <dgm:cxn modelId="{84179025-E548-4AC6-832D-03ED020905D0}" type="presParOf" srcId="{282EB8AC-7DE7-4B6C-A875-9B5310CD2101}" destId="{A604DDD9-CEED-47B0-A543-45D6DDE00ED9}" srcOrd="2" destOrd="0" presId="urn:microsoft.com/office/officeart/2008/layout/NameandTitleOrganizationalChart"/>
    <dgm:cxn modelId="{3E428FCF-379C-4C0D-8B4F-97F80CFFE751}" type="presParOf" srcId="{F455EC18-0E82-4C56-AE5E-7C0A4B8E33C0}" destId="{A8B2FD64-1FAC-47A1-A480-BEEAA6857D06}" srcOrd="1" destOrd="0" presId="urn:microsoft.com/office/officeart/2008/layout/NameandTitleOrganizationalChart"/>
    <dgm:cxn modelId="{D599B883-C780-4BE1-8C9A-972123B1AAB9}" type="presParOf" srcId="{F455EC18-0E82-4C56-AE5E-7C0A4B8E33C0}" destId="{BDA5F237-3D84-442F-805C-AE8F8A76E0E2}" srcOrd="2" destOrd="0" presId="urn:microsoft.com/office/officeart/2008/layout/NameandTitleOrganizationalChart"/>
    <dgm:cxn modelId="{72197D44-5A54-4F19-8CF4-218FB1A7882A}" type="presParOf" srcId="{ABBC3761-F96E-466F-9867-0528EEE465DE}" destId="{9AF63143-670D-4D4C-8804-3D144C1996A6}" srcOrd="2" destOrd="0" presId="urn:microsoft.com/office/officeart/2008/layout/NameandTitleOrganizationalChart"/>
    <dgm:cxn modelId="{C6545892-9578-44E8-B492-6DA5A9E1F47D}" type="presParOf" srcId="{ABBC3761-F96E-466F-9867-0528EEE465DE}" destId="{B26EF28B-FEC8-412B-819D-F66CE1E4F0A7}" srcOrd="3" destOrd="0" presId="urn:microsoft.com/office/officeart/2008/layout/NameandTitleOrganizationalChart"/>
    <dgm:cxn modelId="{DFD9CE31-CFBC-4FAC-927A-7B412ADFCDD7}" type="presParOf" srcId="{B26EF28B-FEC8-412B-819D-F66CE1E4F0A7}" destId="{33CC2384-9917-4055-98E6-1D2AE08AB289}" srcOrd="0" destOrd="0" presId="urn:microsoft.com/office/officeart/2008/layout/NameandTitleOrganizationalChart"/>
    <dgm:cxn modelId="{F6EA25F2-27E9-4407-8A4A-AFB85ABB60FA}" type="presParOf" srcId="{33CC2384-9917-4055-98E6-1D2AE08AB289}" destId="{C6280845-B7EE-4C0F-8788-13E584DE787E}" srcOrd="0" destOrd="0" presId="urn:microsoft.com/office/officeart/2008/layout/NameandTitleOrganizationalChart"/>
    <dgm:cxn modelId="{AC0C1C76-8EF6-4A8B-99F8-AAC58E87110F}" type="presParOf" srcId="{33CC2384-9917-4055-98E6-1D2AE08AB289}" destId="{3B3946CE-A131-4980-BD91-239DD2B5CEF2}" srcOrd="1" destOrd="0" presId="urn:microsoft.com/office/officeart/2008/layout/NameandTitleOrganizationalChart"/>
    <dgm:cxn modelId="{E6B7D647-29A4-4B45-B1A9-8D7D467D2A68}" type="presParOf" srcId="{33CC2384-9917-4055-98E6-1D2AE08AB289}" destId="{E58D5C48-D9A3-47A7-8B8E-B3B9955A0670}" srcOrd="2" destOrd="0" presId="urn:microsoft.com/office/officeart/2008/layout/NameandTitleOrganizationalChart"/>
    <dgm:cxn modelId="{E15027A1-C00A-4493-BFE1-E67B1A8BD71E}" type="presParOf" srcId="{B26EF28B-FEC8-412B-819D-F66CE1E4F0A7}" destId="{335E8BCC-4D82-4712-A092-A5306E98924A}" srcOrd="1" destOrd="0" presId="urn:microsoft.com/office/officeart/2008/layout/NameandTitleOrganizationalChart"/>
    <dgm:cxn modelId="{A183DF18-1E3B-491F-A5EF-A6B9544AEB9A}" type="presParOf" srcId="{B26EF28B-FEC8-412B-819D-F66CE1E4F0A7}" destId="{9FE765B8-0518-4930-A38B-BFC53D7DF8FE}" srcOrd="2" destOrd="0" presId="urn:microsoft.com/office/officeart/2008/layout/NameandTitleOrganizationalChart"/>
    <dgm:cxn modelId="{809DD587-FDB8-4DB3-87B8-E9EA60F7C8E5}" type="presParOf" srcId="{7745AEBA-29A2-47D1-A9EE-10FE08A0D43A}" destId="{457AB36C-E3EF-4770-A44F-C96EED05476E}" srcOrd="2" destOrd="0" presId="urn:microsoft.com/office/officeart/2008/layout/NameandTitleOrganizationalChart"/>
    <dgm:cxn modelId="{BC200E6A-5967-4D85-8949-A49739EE7C28}" type="presParOf" srcId="{EAA5D3E8-9B94-42B5-9318-AC50F1360854}" destId="{51F10AF7-4E2E-4E0D-828C-42391D54A564}" srcOrd="6" destOrd="0" presId="urn:microsoft.com/office/officeart/2008/layout/NameandTitleOrganizationalChart"/>
    <dgm:cxn modelId="{D62FDF8A-45D4-4421-B92A-6985E42B937E}" type="presParOf" srcId="{EAA5D3E8-9B94-42B5-9318-AC50F1360854}" destId="{9720237E-A105-4944-9F31-006C0744C1E8}" srcOrd="7" destOrd="0" presId="urn:microsoft.com/office/officeart/2008/layout/NameandTitleOrganizationalChart"/>
    <dgm:cxn modelId="{92C826CC-E808-4D86-8845-D08F236ADE0C}" type="presParOf" srcId="{9720237E-A105-4944-9F31-006C0744C1E8}" destId="{63BE61F1-9CF7-4681-85FC-5F8C17A5149C}" srcOrd="0" destOrd="0" presId="urn:microsoft.com/office/officeart/2008/layout/NameandTitleOrganizationalChart"/>
    <dgm:cxn modelId="{167C031A-25CC-4A11-BEF7-7EE3EFA385F8}" type="presParOf" srcId="{63BE61F1-9CF7-4681-85FC-5F8C17A5149C}" destId="{8106F296-A829-4098-B599-D55B8117FF30}" srcOrd="0" destOrd="0" presId="urn:microsoft.com/office/officeart/2008/layout/NameandTitleOrganizationalChart"/>
    <dgm:cxn modelId="{225CFC0A-FCDB-49D3-A60A-95E917A33372}" type="presParOf" srcId="{63BE61F1-9CF7-4681-85FC-5F8C17A5149C}" destId="{C3DD51E6-DCE1-40D9-A7E9-4B9F808E4318}" srcOrd="1" destOrd="0" presId="urn:microsoft.com/office/officeart/2008/layout/NameandTitleOrganizationalChart"/>
    <dgm:cxn modelId="{73318E58-6583-4C5F-ADD0-0C6596B461CD}" type="presParOf" srcId="{63BE61F1-9CF7-4681-85FC-5F8C17A5149C}" destId="{F8E960C1-E349-4768-9A2D-BF64145557A8}" srcOrd="2" destOrd="0" presId="urn:microsoft.com/office/officeart/2008/layout/NameandTitleOrganizationalChart"/>
    <dgm:cxn modelId="{0807BF62-5008-402A-A21C-0DC3EE7C976F}" type="presParOf" srcId="{9720237E-A105-4944-9F31-006C0744C1E8}" destId="{DD65A625-5624-4B8B-B818-DDFF2786B0CD}" srcOrd="1" destOrd="0" presId="urn:microsoft.com/office/officeart/2008/layout/NameandTitleOrganizationalChart"/>
    <dgm:cxn modelId="{CEB54AE6-5C7B-4669-B9D8-FA5174A1D833}" type="presParOf" srcId="{9720237E-A105-4944-9F31-006C0744C1E8}" destId="{B24689D8-F71C-49AD-85C1-F8D190BA831B}" srcOrd="2" destOrd="0" presId="urn:microsoft.com/office/officeart/2008/layout/NameandTitleOrganizationalChart"/>
    <dgm:cxn modelId="{2322C166-406F-4739-ABA9-8FE15B639F2D}" type="presParOf" srcId="{B2E6313B-F477-48A1-B50A-173CD4DEBFBF}" destId="{D1B10139-577E-4C9E-8C9A-292D1CABA804}" srcOrd="2" destOrd="0" presId="urn:microsoft.com/office/officeart/2008/layout/NameandTitleOrganizationalChart"/>
    <dgm:cxn modelId="{0386B561-C9CD-46BD-B864-5D033433379D}" type="presParOf" srcId="{EEFBEEAA-F5F3-4095-8F4A-8163865279F8}" destId="{D7F0947B-02A0-4EB2-99F6-B57DE34B4FDF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5AA87D-F996-4F61-A4C3-27F39964718C}">
      <dsp:nvSpPr>
        <dsp:cNvPr id="0" name=""/>
        <dsp:cNvSpPr/>
      </dsp:nvSpPr>
      <dsp:spPr>
        <a:xfrm>
          <a:off x="6787117" y="1553195"/>
          <a:ext cx="3507419" cy="6825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1272"/>
              </a:lnTo>
              <a:lnTo>
                <a:pt x="3507419" y="341272"/>
              </a:lnTo>
              <a:lnTo>
                <a:pt x="3507419" y="68254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5BC65E-2DDD-4012-B9EC-32CD0A19D081}">
      <dsp:nvSpPr>
        <dsp:cNvPr id="0" name=""/>
        <dsp:cNvSpPr/>
      </dsp:nvSpPr>
      <dsp:spPr>
        <a:xfrm>
          <a:off x="6741397" y="1553195"/>
          <a:ext cx="91440" cy="6819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8194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7BA162-AE90-42AB-986C-E34DA9A1FD31}">
      <dsp:nvSpPr>
        <dsp:cNvPr id="0" name=""/>
        <dsp:cNvSpPr/>
      </dsp:nvSpPr>
      <dsp:spPr>
        <a:xfrm>
          <a:off x="3279697" y="3698335"/>
          <a:ext cx="1755602" cy="6743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3096"/>
              </a:lnTo>
              <a:lnTo>
                <a:pt x="1755602" y="333096"/>
              </a:lnTo>
              <a:lnTo>
                <a:pt x="1755602" y="674368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BA6823-96A8-45AE-A0BD-0E4D2CBAF337}">
      <dsp:nvSpPr>
        <dsp:cNvPr id="0" name=""/>
        <dsp:cNvSpPr/>
      </dsp:nvSpPr>
      <dsp:spPr>
        <a:xfrm>
          <a:off x="1539208" y="3698335"/>
          <a:ext cx="1740489" cy="668284"/>
        </a:xfrm>
        <a:custGeom>
          <a:avLst/>
          <a:gdLst/>
          <a:ahLst/>
          <a:cxnLst/>
          <a:rect l="0" t="0" r="0" b="0"/>
          <a:pathLst>
            <a:path>
              <a:moveTo>
                <a:pt x="1740489" y="0"/>
              </a:moveTo>
              <a:lnTo>
                <a:pt x="1740489" y="327011"/>
              </a:lnTo>
              <a:lnTo>
                <a:pt x="0" y="327011"/>
              </a:lnTo>
              <a:lnTo>
                <a:pt x="0" y="668284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D669C7-970D-45AA-B46C-09FE715E5B0B}">
      <dsp:nvSpPr>
        <dsp:cNvPr id="0" name=""/>
        <dsp:cNvSpPr/>
      </dsp:nvSpPr>
      <dsp:spPr>
        <a:xfrm>
          <a:off x="3279697" y="1553195"/>
          <a:ext cx="3507419" cy="682544"/>
        </a:xfrm>
        <a:custGeom>
          <a:avLst/>
          <a:gdLst/>
          <a:ahLst/>
          <a:cxnLst/>
          <a:rect l="0" t="0" r="0" b="0"/>
          <a:pathLst>
            <a:path>
              <a:moveTo>
                <a:pt x="3507419" y="0"/>
              </a:moveTo>
              <a:lnTo>
                <a:pt x="3507419" y="341272"/>
              </a:lnTo>
              <a:lnTo>
                <a:pt x="0" y="341272"/>
              </a:lnTo>
              <a:lnTo>
                <a:pt x="0" y="68254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CFB2D3-86FD-4120-B3DD-8F35B1C582AF}">
      <dsp:nvSpPr>
        <dsp:cNvPr id="0" name=""/>
        <dsp:cNvSpPr/>
      </dsp:nvSpPr>
      <dsp:spPr>
        <a:xfrm>
          <a:off x="5223040" y="90600"/>
          <a:ext cx="3128153" cy="1462595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8890" bIns="20638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FCW</a:t>
          </a:r>
          <a:endParaRPr lang="en-US" sz="1400" b="1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Composite sequence root node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Contains all the children behaviors required to perform a </a:t>
          </a:r>
          <a:r>
            <a:rPr lang="en-US" sz="140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FCW </a:t>
          </a:r>
          <a:r>
            <a:rPr lang="en-US" sz="1400" kern="12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scenario</a:t>
          </a:r>
        </a:p>
      </dsp:txBody>
      <dsp:txXfrm>
        <a:off x="5223040" y="90600"/>
        <a:ext cx="3128153" cy="1462595"/>
      </dsp:txXfrm>
    </dsp:sp>
    <dsp:sp modelId="{74E3AC88-DD94-4480-87AE-C92D37D2DD55}">
      <dsp:nvSpPr>
        <dsp:cNvPr id="0" name=""/>
        <dsp:cNvSpPr/>
      </dsp:nvSpPr>
      <dsp:spPr>
        <a:xfrm>
          <a:off x="5523961" y="1444711"/>
          <a:ext cx="18788" cy="18779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5523961" y="1444711"/>
        <a:ext cx="18788" cy="18779"/>
      </dsp:txXfrm>
    </dsp:sp>
    <dsp:sp modelId="{8EE35D8B-BEB4-45A9-B5AF-E76DC893500D}">
      <dsp:nvSpPr>
        <dsp:cNvPr id="0" name=""/>
        <dsp:cNvSpPr/>
      </dsp:nvSpPr>
      <dsp:spPr>
        <a:xfrm>
          <a:off x="1867260" y="2235739"/>
          <a:ext cx="2824875" cy="1462595"/>
        </a:xfrm>
        <a:prstGeom prst="parallelogram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91440" rIns="7620" bIns="20638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err="1">
              <a:solidFill>
                <a:srgbClr val="FFFFFF"/>
              </a:solidFill>
              <a:latin typeface="Porsche Next TT"/>
              <a:ea typeface="+mn-ea"/>
              <a:cs typeface="+mn-cs"/>
            </a:rPr>
            <a:t>JustDrive</a:t>
          </a:r>
          <a:endParaRPr lang="en-US" sz="1200" b="1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solidFill>
                <a:srgbClr val="FFFFFF"/>
              </a:solidFill>
              <a:latin typeface="Porsche Next TT"/>
              <a:ea typeface="+mn-ea"/>
              <a:cs typeface="+mn-cs"/>
            </a:rPr>
            <a:t>Composite parallel </a:t>
          </a:r>
          <a:r>
            <a:rPr lang="en-US" sz="120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node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UCCESS_ON_ONE</a:t>
          </a:r>
          <a:endParaRPr lang="en-US" sz="120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rives the target vehicle at a defined speed</a:t>
          </a:r>
          <a:endParaRPr lang="en-US" sz="12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2255020" y="2436504"/>
        <a:ext cx="2049355" cy="1061065"/>
      </dsp:txXfrm>
    </dsp:sp>
    <dsp:sp modelId="{20B44729-766A-48D7-87ED-AD75AF456AA8}">
      <dsp:nvSpPr>
        <dsp:cNvPr id="0" name=""/>
        <dsp:cNvSpPr/>
      </dsp:nvSpPr>
      <dsp:spPr>
        <a:xfrm>
          <a:off x="3695051" y="3608704"/>
          <a:ext cx="16754" cy="1675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3695051" y="3608704"/>
        <a:ext cx="16754" cy="16751"/>
      </dsp:txXfrm>
    </dsp:sp>
    <dsp:sp modelId="{BC8B3DF1-562F-4D1A-A638-8282CCC686DE}">
      <dsp:nvSpPr>
        <dsp:cNvPr id="0" name=""/>
        <dsp:cNvSpPr/>
      </dsp:nvSpPr>
      <dsp:spPr>
        <a:xfrm>
          <a:off x="126770" y="4366619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20638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Waypointfollower</a:t>
          </a:r>
          <a:endParaRPr lang="en-US" sz="1400" b="1" kern="1200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locity1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1 at velocity1 along the road</a:t>
          </a:r>
          <a:endParaRPr lang="en-US" sz="14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484059" y="4551607"/>
        <a:ext cx="2110297" cy="1092619"/>
      </dsp:txXfrm>
    </dsp:sp>
    <dsp:sp modelId="{80165394-711B-43B1-BC7E-B954EBD4D7EB}">
      <dsp:nvSpPr>
        <dsp:cNvPr id="0" name=""/>
        <dsp:cNvSpPr/>
      </dsp:nvSpPr>
      <dsp:spPr>
        <a:xfrm>
          <a:off x="1941405" y="5753909"/>
          <a:ext cx="16627" cy="16619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1941405" y="5753909"/>
        <a:ext cx="16627" cy="16619"/>
      </dsp:txXfrm>
    </dsp:sp>
    <dsp:sp modelId="{549BA040-41D3-4A01-878C-659819A8120D}">
      <dsp:nvSpPr>
        <dsp:cNvPr id="0" name=""/>
        <dsp:cNvSpPr/>
      </dsp:nvSpPr>
      <dsp:spPr>
        <a:xfrm>
          <a:off x="3622862" y="4372703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182880" rIns="8890" bIns="20638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TriggerDistanceToVehicle</a:t>
          </a:r>
          <a:endParaRPr lang="en-US" sz="1400" b="1" kern="1200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14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ego vehicle, </a:t>
          </a:r>
          <a:r>
            <a:rPr lang="en-US" sz="1400" kern="1200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1400" kern="1200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</a:t>
          </a:r>
          <a:r>
            <a:rPr lang="en-US" sz="14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relative distance &lt; </a:t>
          </a:r>
          <a:r>
            <a:rPr lang="en-US" sz="1400" kern="1200" dirty="0" err="1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14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3980151" y="4557691"/>
        <a:ext cx="2110297" cy="1092619"/>
      </dsp:txXfrm>
    </dsp:sp>
    <dsp:sp modelId="{CA9CF75D-F408-4230-9630-73DA2735594D}">
      <dsp:nvSpPr>
        <dsp:cNvPr id="0" name=""/>
        <dsp:cNvSpPr/>
      </dsp:nvSpPr>
      <dsp:spPr>
        <a:xfrm>
          <a:off x="5448901" y="5753984"/>
          <a:ext cx="16474" cy="16468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5448901" y="5753984"/>
        <a:ext cx="16474" cy="16468"/>
      </dsp:txXfrm>
    </dsp:sp>
    <dsp:sp modelId="{C2C30035-9241-474B-AFC5-1CA1655D1A2F}">
      <dsp:nvSpPr>
        <dsp:cNvPr id="0" name=""/>
        <dsp:cNvSpPr/>
      </dsp:nvSpPr>
      <dsp:spPr>
        <a:xfrm>
          <a:off x="5374679" y="2235140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91440" rIns="8890" bIns="20638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opVehicle</a:t>
          </a:r>
          <a:endParaRPr lang="en-US" sz="1400" b="1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14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max_brake</a:t>
          </a:r>
          <a:endParaRPr lang="en-US" sz="1400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</a:t>
          </a:r>
          <a:r>
            <a:rPr lang="en-US" sz="140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 the actor stopped moving</a:t>
          </a:r>
          <a:endParaRPr lang="en-US" sz="14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5731968" y="2420128"/>
        <a:ext cx="2110297" cy="1092619"/>
      </dsp:txXfrm>
    </dsp:sp>
    <dsp:sp modelId="{56CC7125-0E29-4712-8D53-8DC56D42FF29}">
      <dsp:nvSpPr>
        <dsp:cNvPr id="0" name=""/>
        <dsp:cNvSpPr/>
      </dsp:nvSpPr>
      <dsp:spPr>
        <a:xfrm>
          <a:off x="7202687" y="3608920"/>
          <a:ext cx="16322" cy="16317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7202687" y="3608920"/>
        <a:ext cx="16322" cy="16317"/>
      </dsp:txXfrm>
    </dsp:sp>
    <dsp:sp modelId="{2ECE7E7A-3523-4157-A511-63B21D19B86A}">
      <dsp:nvSpPr>
        <dsp:cNvPr id="0" name=""/>
        <dsp:cNvSpPr/>
      </dsp:nvSpPr>
      <dsp:spPr>
        <a:xfrm>
          <a:off x="8882099" y="2235739"/>
          <a:ext cx="2824875" cy="1462595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91440" rIns="8890" bIns="20638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andStill</a:t>
          </a:r>
          <a:endParaRPr lang="en-US" sz="1400" b="1" kern="1200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</a:t>
          </a:r>
          <a:r>
            <a:rPr lang="en-US" sz="14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ego vehicle, duration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the vehicle </a:t>
          </a:r>
          <a:r>
            <a:rPr lang="en-US" sz="140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oes not move</a:t>
          </a:r>
          <a:endParaRPr lang="en-US" sz="14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9239388" y="2420727"/>
        <a:ext cx="2110297" cy="1092619"/>
      </dsp:txXfrm>
    </dsp:sp>
    <dsp:sp modelId="{C681164C-EFCB-427A-BC83-25841A1BE8A3}">
      <dsp:nvSpPr>
        <dsp:cNvPr id="0" name=""/>
        <dsp:cNvSpPr/>
      </dsp:nvSpPr>
      <dsp:spPr>
        <a:xfrm>
          <a:off x="10710247" y="3609055"/>
          <a:ext cx="16042" cy="16049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10710247" y="3609055"/>
        <a:ext cx="16042" cy="160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F10AF7-4E2E-4E0D-828C-42391D54A564}">
      <dsp:nvSpPr>
        <dsp:cNvPr id="0" name=""/>
        <dsp:cNvSpPr/>
      </dsp:nvSpPr>
      <dsp:spPr>
        <a:xfrm>
          <a:off x="8635934" y="2752912"/>
          <a:ext cx="2354225" cy="2865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1663"/>
              </a:lnTo>
              <a:lnTo>
                <a:pt x="2354225" y="141663"/>
              </a:lnTo>
              <a:lnTo>
                <a:pt x="2354225" y="28654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F63143-670D-4D4C-8804-3D144C1996A6}">
      <dsp:nvSpPr>
        <dsp:cNvPr id="0" name=""/>
        <dsp:cNvSpPr/>
      </dsp:nvSpPr>
      <dsp:spPr>
        <a:xfrm>
          <a:off x="9386046" y="3657786"/>
          <a:ext cx="798848" cy="3648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923"/>
              </a:lnTo>
              <a:lnTo>
                <a:pt x="798848" y="219923"/>
              </a:lnTo>
              <a:lnTo>
                <a:pt x="798848" y="36480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F5C392-A159-4EA8-8E65-D57879BFDC32}">
      <dsp:nvSpPr>
        <dsp:cNvPr id="0" name=""/>
        <dsp:cNvSpPr/>
      </dsp:nvSpPr>
      <dsp:spPr>
        <a:xfrm>
          <a:off x="8581584" y="3657786"/>
          <a:ext cx="804461" cy="358749"/>
        </a:xfrm>
        <a:custGeom>
          <a:avLst/>
          <a:gdLst/>
          <a:ahLst/>
          <a:cxnLst/>
          <a:rect l="0" t="0" r="0" b="0"/>
          <a:pathLst>
            <a:path>
              <a:moveTo>
                <a:pt x="804461" y="0"/>
              </a:moveTo>
              <a:lnTo>
                <a:pt x="804461" y="213870"/>
              </a:lnTo>
              <a:lnTo>
                <a:pt x="0" y="213870"/>
              </a:lnTo>
              <a:lnTo>
                <a:pt x="0" y="358749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6272B6-7828-40A4-BD4F-D1B149E42C97}">
      <dsp:nvSpPr>
        <dsp:cNvPr id="0" name=""/>
        <dsp:cNvSpPr/>
      </dsp:nvSpPr>
      <dsp:spPr>
        <a:xfrm>
          <a:off x="8635934" y="2752912"/>
          <a:ext cx="750111" cy="2839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9080"/>
              </a:lnTo>
              <a:lnTo>
                <a:pt x="750111" y="139080"/>
              </a:lnTo>
              <a:lnTo>
                <a:pt x="750111" y="283960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CD477B-BE56-4ADF-B821-B7A48A4F8874}">
      <dsp:nvSpPr>
        <dsp:cNvPr id="0" name=""/>
        <dsp:cNvSpPr/>
      </dsp:nvSpPr>
      <dsp:spPr>
        <a:xfrm>
          <a:off x="7771511" y="2752912"/>
          <a:ext cx="864423" cy="290013"/>
        </a:xfrm>
        <a:custGeom>
          <a:avLst/>
          <a:gdLst/>
          <a:ahLst/>
          <a:cxnLst/>
          <a:rect l="0" t="0" r="0" b="0"/>
          <a:pathLst>
            <a:path>
              <a:moveTo>
                <a:pt x="864423" y="0"/>
              </a:moveTo>
              <a:lnTo>
                <a:pt x="864423" y="145134"/>
              </a:lnTo>
              <a:lnTo>
                <a:pt x="0" y="145134"/>
              </a:lnTo>
              <a:lnTo>
                <a:pt x="0" y="29001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2C7F76-32F4-47B7-A863-C89ADB9A0913}">
      <dsp:nvSpPr>
        <dsp:cNvPr id="0" name=""/>
        <dsp:cNvSpPr/>
      </dsp:nvSpPr>
      <dsp:spPr>
        <a:xfrm>
          <a:off x="6162588" y="3663839"/>
          <a:ext cx="805264" cy="3552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0399"/>
              </a:lnTo>
              <a:lnTo>
                <a:pt x="805264" y="210399"/>
              </a:lnTo>
              <a:lnTo>
                <a:pt x="805264" y="355278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879A47-455A-45FC-9976-2FA1074788F4}">
      <dsp:nvSpPr>
        <dsp:cNvPr id="0" name=""/>
        <dsp:cNvSpPr/>
      </dsp:nvSpPr>
      <dsp:spPr>
        <a:xfrm>
          <a:off x="5363739" y="3663839"/>
          <a:ext cx="798848" cy="352695"/>
        </a:xfrm>
        <a:custGeom>
          <a:avLst/>
          <a:gdLst/>
          <a:ahLst/>
          <a:cxnLst/>
          <a:rect l="0" t="0" r="0" b="0"/>
          <a:pathLst>
            <a:path>
              <a:moveTo>
                <a:pt x="798848" y="0"/>
              </a:moveTo>
              <a:lnTo>
                <a:pt x="798848" y="207816"/>
              </a:lnTo>
              <a:lnTo>
                <a:pt x="0" y="207816"/>
              </a:lnTo>
              <a:lnTo>
                <a:pt x="0" y="352695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8D79AA-ED07-4BCD-93D4-B9B00BF3A02D}">
      <dsp:nvSpPr>
        <dsp:cNvPr id="0" name=""/>
        <dsp:cNvSpPr/>
      </dsp:nvSpPr>
      <dsp:spPr>
        <a:xfrm>
          <a:off x="6162588" y="2752912"/>
          <a:ext cx="2473346" cy="290013"/>
        </a:xfrm>
        <a:custGeom>
          <a:avLst/>
          <a:gdLst/>
          <a:ahLst/>
          <a:cxnLst/>
          <a:rect l="0" t="0" r="0" b="0"/>
          <a:pathLst>
            <a:path>
              <a:moveTo>
                <a:pt x="2473346" y="0"/>
              </a:moveTo>
              <a:lnTo>
                <a:pt x="2473346" y="145134"/>
              </a:lnTo>
              <a:lnTo>
                <a:pt x="0" y="145134"/>
              </a:lnTo>
              <a:lnTo>
                <a:pt x="0" y="29001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5BC65E-2DDD-4012-B9EC-32CD0A19D081}">
      <dsp:nvSpPr>
        <dsp:cNvPr id="0" name=""/>
        <dsp:cNvSpPr/>
      </dsp:nvSpPr>
      <dsp:spPr>
        <a:xfrm>
          <a:off x="5880281" y="1842494"/>
          <a:ext cx="2755652" cy="289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625"/>
              </a:lnTo>
              <a:lnTo>
                <a:pt x="2755652" y="144625"/>
              </a:lnTo>
              <a:lnTo>
                <a:pt x="2755652" y="289504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F8BB0-1CDE-4C33-9019-A7E5597838AC}">
      <dsp:nvSpPr>
        <dsp:cNvPr id="0" name=""/>
        <dsp:cNvSpPr/>
      </dsp:nvSpPr>
      <dsp:spPr>
        <a:xfrm>
          <a:off x="3124628" y="2753167"/>
          <a:ext cx="1429036" cy="2897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879"/>
              </a:lnTo>
              <a:lnTo>
                <a:pt x="1429036" y="144879"/>
              </a:lnTo>
              <a:lnTo>
                <a:pt x="1429036" y="289759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7BA162-AE90-42AB-986C-E34DA9A1FD31}">
      <dsp:nvSpPr>
        <dsp:cNvPr id="0" name=""/>
        <dsp:cNvSpPr/>
      </dsp:nvSpPr>
      <dsp:spPr>
        <a:xfrm>
          <a:off x="3078908" y="2753167"/>
          <a:ext cx="91440" cy="286288"/>
        </a:xfrm>
        <a:custGeom>
          <a:avLst/>
          <a:gdLst/>
          <a:ahLst/>
          <a:cxnLst/>
          <a:rect l="0" t="0" r="0" b="0"/>
          <a:pathLst>
            <a:path>
              <a:moveTo>
                <a:pt x="104878" y="0"/>
              </a:moveTo>
              <a:lnTo>
                <a:pt x="104878" y="141408"/>
              </a:lnTo>
              <a:lnTo>
                <a:pt x="45720" y="141408"/>
              </a:lnTo>
              <a:lnTo>
                <a:pt x="45720" y="286288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445495-B0AD-4C1D-A4F3-2B7EFD674F9E}">
      <dsp:nvSpPr>
        <dsp:cNvPr id="0" name=""/>
        <dsp:cNvSpPr/>
      </dsp:nvSpPr>
      <dsp:spPr>
        <a:xfrm>
          <a:off x="1581280" y="3657786"/>
          <a:ext cx="738887" cy="2958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33"/>
              </a:lnTo>
              <a:lnTo>
                <a:pt x="738887" y="150933"/>
              </a:lnTo>
              <a:lnTo>
                <a:pt x="738887" y="295813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A1A95A-CEA6-414A-98E2-8B7AE16094D2}">
      <dsp:nvSpPr>
        <dsp:cNvPr id="0" name=""/>
        <dsp:cNvSpPr/>
      </dsp:nvSpPr>
      <dsp:spPr>
        <a:xfrm>
          <a:off x="716856" y="3657786"/>
          <a:ext cx="864423" cy="289759"/>
        </a:xfrm>
        <a:custGeom>
          <a:avLst/>
          <a:gdLst/>
          <a:ahLst/>
          <a:cxnLst/>
          <a:rect l="0" t="0" r="0" b="0"/>
          <a:pathLst>
            <a:path>
              <a:moveTo>
                <a:pt x="864423" y="0"/>
              </a:moveTo>
              <a:lnTo>
                <a:pt x="864423" y="144879"/>
              </a:lnTo>
              <a:lnTo>
                <a:pt x="0" y="144879"/>
              </a:lnTo>
              <a:lnTo>
                <a:pt x="0" y="289759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BA6823-96A8-45AE-A0BD-0E4D2CBAF337}">
      <dsp:nvSpPr>
        <dsp:cNvPr id="0" name=""/>
        <dsp:cNvSpPr/>
      </dsp:nvSpPr>
      <dsp:spPr>
        <a:xfrm>
          <a:off x="1581280" y="2753167"/>
          <a:ext cx="1543348" cy="283705"/>
        </a:xfrm>
        <a:custGeom>
          <a:avLst/>
          <a:gdLst/>
          <a:ahLst/>
          <a:cxnLst/>
          <a:rect l="0" t="0" r="0" b="0"/>
          <a:pathLst>
            <a:path>
              <a:moveTo>
                <a:pt x="1543348" y="0"/>
              </a:moveTo>
              <a:lnTo>
                <a:pt x="1543348" y="138825"/>
              </a:lnTo>
              <a:lnTo>
                <a:pt x="0" y="138825"/>
              </a:lnTo>
              <a:lnTo>
                <a:pt x="0" y="283705"/>
              </a:lnTo>
            </a:path>
          </a:pathLst>
        </a:custGeom>
        <a:noFill/>
        <a:ln w="10795" cap="flat" cmpd="sng" algn="ctr">
          <a:solidFill>
            <a:srgbClr val="4C7C9E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D669C7-970D-45AA-B46C-09FE715E5B0B}">
      <dsp:nvSpPr>
        <dsp:cNvPr id="0" name=""/>
        <dsp:cNvSpPr/>
      </dsp:nvSpPr>
      <dsp:spPr>
        <a:xfrm>
          <a:off x="3124628" y="1842494"/>
          <a:ext cx="2755652" cy="289759"/>
        </a:xfrm>
        <a:custGeom>
          <a:avLst/>
          <a:gdLst/>
          <a:ahLst/>
          <a:cxnLst/>
          <a:rect l="0" t="0" r="0" b="0"/>
          <a:pathLst>
            <a:path>
              <a:moveTo>
                <a:pt x="2755652" y="0"/>
              </a:moveTo>
              <a:lnTo>
                <a:pt x="2755652" y="144879"/>
              </a:lnTo>
              <a:lnTo>
                <a:pt x="0" y="144879"/>
              </a:lnTo>
              <a:lnTo>
                <a:pt x="0" y="289759"/>
              </a:lnTo>
            </a:path>
          </a:pathLst>
        </a:custGeom>
        <a:noFill/>
        <a:ln w="10795" cap="flat" cmpd="sng" algn="ctr">
          <a:solidFill>
            <a:srgbClr val="4C7C9E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CFB2D3-86FD-4120-B3DD-8F35B1C582AF}">
      <dsp:nvSpPr>
        <dsp:cNvPr id="0" name=""/>
        <dsp:cNvSpPr/>
      </dsp:nvSpPr>
      <dsp:spPr>
        <a:xfrm>
          <a:off x="5216286" y="1221581"/>
          <a:ext cx="1327989" cy="620913"/>
        </a:xfrm>
        <a:prstGeom prst="parallelogram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5080" bIns="87618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CW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Composite sequence root node</a:t>
          </a:r>
        </a:p>
      </dsp:txBody>
      <dsp:txXfrm>
        <a:off x="5391630" y="1303565"/>
        <a:ext cx="977301" cy="456945"/>
      </dsp:txXfrm>
    </dsp:sp>
    <dsp:sp modelId="{74E3AC88-DD94-4480-87AE-C92D37D2DD55}">
      <dsp:nvSpPr>
        <dsp:cNvPr id="0" name=""/>
        <dsp:cNvSpPr/>
      </dsp:nvSpPr>
      <dsp:spPr>
        <a:xfrm>
          <a:off x="5344036" y="1796440"/>
          <a:ext cx="7976" cy="7972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5344036" y="1796440"/>
        <a:ext cx="7976" cy="7972"/>
      </dsp:txXfrm>
    </dsp:sp>
    <dsp:sp modelId="{8EE35D8B-BEB4-45A9-B5AF-E76DC893500D}">
      <dsp:nvSpPr>
        <dsp:cNvPr id="0" name=""/>
        <dsp:cNvSpPr/>
      </dsp:nvSpPr>
      <dsp:spPr>
        <a:xfrm>
          <a:off x="2525008" y="2132254"/>
          <a:ext cx="1199239" cy="620913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91440" rIns="6350" bIns="87618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Leading actor behavior</a:t>
          </a:r>
        </a:p>
      </dsp:txBody>
      <dsp:txXfrm>
        <a:off x="2525008" y="2132254"/>
        <a:ext cx="1199239" cy="620913"/>
      </dsp:txXfrm>
    </dsp:sp>
    <dsp:sp modelId="{20B44729-766A-48D7-87ED-AD75AF456AA8}">
      <dsp:nvSpPr>
        <dsp:cNvPr id="0" name=""/>
        <dsp:cNvSpPr/>
      </dsp:nvSpPr>
      <dsp:spPr>
        <a:xfrm>
          <a:off x="3300958" y="2715116"/>
          <a:ext cx="7112" cy="711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3300958" y="2715116"/>
        <a:ext cx="7112" cy="7111"/>
      </dsp:txXfrm>
    </dsp:sp>
    <dsp:sp modelId="{BC8B3DF1-562F-4D1A-A638-8282CCC686DE}">
      <dsp:nvSpPr>
        <dsp:cNvPr id="0" name=""/>
        <dsp:cNvSpPr/>
      </dsp:nvSpPr>
      <dsp:spPr>
        <a:xfrm>
          <a:off x="981660" y="3036872"/>
          <a:ext cx="1199239" cy="620913"/>
        </a:xfrm>
        <a:prstGeom prst="parallelogram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87618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keep_velocity</a:t>
          </a:r>
          <a:endParaRPr lang="en-US" sz="9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1146275" y="3122102"/>
        <a:ext cx="870009" cy="450453"/>
      </dsp:txXfrm>
    </dsp:sp>
    <dsp:sp modelId="{80165394-711B-43B1-BC7E-B954EBD4D7EB}">
      <dsp:nvSpPr>
        <dsp:cNvPr id="0" name=""/>
        <dsp:cNvSpPr/>
      </dsp:nvSpPr>
      <dsp:spPr>
        <a:xfrm>
          <a:off x="1752024" y="3625816"/>
          <a:ext cx="7058" cy="7055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1752024" y="3625816"/>
        <a:ext cx="7058" cy="7055"/>
      </dsp:txXfrm>
    </dsp:sp>
    <dsp:sp modelId="{81A3CB1B-8E65-4473-8FD5-29E36E5FFC61}">
      <dsp:nvSpPr>
        <dsp:cNvPr id="0" name=""/>
        <dsp:cNvSpPr/>
      </dsp:nvSpPr>
      <dsp:spPr>
        <a:xfrm>
          <a:off x="117237" y="394754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WaypointFollower</a:t>
          </a:r>
          <a:endParaRPr lang="en-US" sz="6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locity1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1 at velocity1 along the road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268916" y="4026078"/>
        <a:ext cx="895881" cy="463847"/>
      </dsp:txXfrm>
    </dsp:sp>
    <dsp:sp modelId="{31640F8C-1863-4DA0-9E98-7F498141E3ED}">
      <dsp:nvSpPr>
        <dsp:cNvPr id="0" name=""/>
        <dsp:cNvSpPr/>
      </dsp:nvSpPr>
      <dsp:spPr>
        <a:xfrm>
          <a:off x="2226459" y="5350931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226459" y="5350931"/>
        <a:ext cx="1079315" cy="206971"/>
      </dsp:txXfrm>
    </dsp:sp>
    <dsp:sp modelId="{A7950F15-6581-4274-AC25-076E2946EE98}">
      <dsp:nvSpPr>
        <dsp:cNvPr id="0" name=""/>
        <dsp:cNvSpPr/>
      </dsp:nvSpPr>
      <dsp:spPr>
        <a:xfrm>
          <a:off x="1720547" y="3953599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87618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InTriggerDistanceToLocation</a:t>
          </a:r>
          <a:endParaRPr lang="en-US" sz="5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5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target_location</a:t>
          </a: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, </a:t>
          </a:r>
          <a:r>
            <a:rPr lang="en-US" sz="5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5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1872226" y="4032132"/>
        <a:ext cx="895881" cy="463847"/>
      </dsp:txXfrm>
    </dsp:sp>
    <dsp:sp modelId="{8DD2BD33-E22E-4BED-9838-CB08DFF98A41}">
      <dsp:nvSpPr>
        <dsp:cNvPr id="0" name=""/>
        <dsp:cNvSpPr/>
      </dsp:nvSpPr>
      <dsp:spPr>
        <a:xfrm>
          <a:off x="2219010" y="5350931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219010" y="5350931"/>
        <a:ext cx="1079315" cy="206971"/>
      </dsp:txXfrm>
    </dsp:sp>
    <dsp:sp modelId="{549BA040-41D3-4A01-878C-659819A8120D}">
      <dsp:nvSpPr>
        <dsp:cNvPr id="0" name=""/>
        <dsp:cNvSpPr/>
      </dsp:nvSpPr>
      <dsp:spPr>
        <a:xfrm>
          <a:off x="2608056" y="303945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18288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opVehicle</a:t>
          </a:r>
          <a:endParaRPr lang="en-US" sz="600" b="1" kern="1200" dirty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</a:t>
          </a:r>
          <a:r>
            <a:rPr lang="en-US" sz="6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max_brake</a:t>
          </a:r>
          <a:endParaRPr lang="en-US" sz="600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</a:t>
          </a:r>
          <a:r>
            <a:rPr lang="en-US" sz="60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 the actor stopped moving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2759735" y="3117988"/>
        <a:ext cx="895881" cy="463847"/>
      </dsp:txXfrm>
    </dsp:sp>
    <dsp:sp modelId="{CA9CF75D-F408-4230-9630-73DA2735594D}">
      <dsp:nvSpPr>
        <dsp:cNvPr id="0" name=""/>
        <dsp:cNvSpPr/>
      </dsp:nvSpPr>
      <dsp:spPr>
        <a:xfrm>
          <a:off x="3241055" y="3625849"/>
          <a:ext cx="6993" cy="699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3241055" y="3625849"/>
        <a:ext cx="6993" cy="6991"/>
      </dsp:txXfrm>
    </dsp:sp>
    <dsp:sp modelId="{C8FF8BF7-F757-4140-9668-BE763F17D813}">
      <dsp:nvSpPr>
        <dsp:cNvPr id="0" name=""/>
        <dsp:cNvSpPr/>
      </dsp:nvSpPr>
      <dsp:spPr>
        <a:xfrm>
          <a:off x="3954045" y="3042926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18288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andStill</a:t>
          </a:r>
          <a:endParaRPr lang="en-US" sz="60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ego vehicle, duration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the vehicle </a:t>
          </a:r>
          <a:r>
            <a:rPr lang="en-US" sz="60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oes not move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4105724" y="3121459"/>
        <a:ext cx="895881" cy="463847"/>
      </dsp:txXfrm>
    </dsp:sp>
    <dsp:sp modelId="{07BAC14D-A941-443C-831F-668E8DB2ED27}">
      <dsp:nvSpPr>
        <dsp:cNvPr id="0" name=""/>
        <dsp:cNvSpPr/>
      </dsp:nvSpPr>
      <dsp:spPr>
        <a:xfrm>
          <a:off x="2188223" y="5367590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188223" y="5367590"/>
        <a:ext cx="1079315" cy="206971"/>
      </dsp:txXfrm>
    </dsp:sp>
    <dsp:sp modelId="{C2C30035-9241-474B-AFC5-1CA1655D1A2F}">
      <dsp:nvSpPr>
        <dsp:cNvPr id="0" name=""/>
        <dsp:cNvSpPr/>
      </dsp:nvSpPr>
      <dsp:spPr>
        <a:xfrm>
          <a:off x="8036314" y="2131999"/>
          <a:ext cx="1199239" cy="620913"/>
        </a:xfrm>
        <a:prstGeom prst="rect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91440" rIns="6985" bIns="87618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ide actor behavior</a:t>
          </a:r>
        </a:p>
      </dsp:txBody>
      <dsp:txXfrm>
        <a:off x="8036314" y="2131999"/>
        <a:ext cx="1199239" cy="620913"/>
      </dsp:txXfrm>
    </dsp:sp>
    <dsp:sp modelId="{56CC7125-0E29-4712-8D53-8DC56D42FF29}">
      <dsp:nvSpPr>
        <dsp:cNvPr id="0" name=""/>
        <dsp:cNvSpPr/>
      </dsp:nvSpPr>
      <dsp:spPr>
        <a:xfrm>
          <a:off x="8812355" y="2715208"/>
          <a:ext cx="6929" cy="6927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3810" rIns="15240" bIns="3810" numCol="1" spcCol="1270" anchor="ctr" anchorCtr="0">
          <a:noAutofit/>
        </a:bodyPr>
        <a:lstStyle/>
        <a:p>
          <a:pPr lvl="0" algn="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8812355" y="2715208"/>
        <a:ext cx="6929" cy="6927"/>
      </dsp:txXfrm>
    </dsp:sp>
    <dsp:sp modelId="{A808A965-EC41-4DC7-92DB-57AD0ED6656A}">
      <dsp:nvSpPr>
        <dsp:cNvPr id="0" name=""/>
        <dsp:cNvSpPr/>
      </dsp:nvSpPr>
      <dsp:spPr>
        <a:xfrm>
          <a:off x="5562968" y="3042926"/>
          <a:ext cx="1199239" cy="620913"/>
        </a:xfrm>
        <a:prstGeom prst="parallelogram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91440" rIns="5080" bIns="87618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JustDrive</a:t>
          </a:r>
          <a:endParaRPr lang="en-US" sz="800" b="1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5727583" y="3128156"/>
        <a:ext cx="870009" cy="450453"/>
      </dsp:txXfrm>
    </dsp:sp>
    <dsp:sp modelId="{0E14B893-EADA-445F-8D6E-0D3515BAE7F7}">
      <dsp:nvSpPr>
        <dsp:cNvPr id="0" name=""/>
        <dsp:cNvSpPr/>
      </dsp:nvSpPr>
      <dsp:spPr>
        <a:xfrm>
          <a:off x="2311468" y="5410077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311468" y="5410077"/>
        <a:ext cx="1079315" cy="206971"/>
      </dsp:txXfrm>
    </dsp:sp>
    <dsp:sp modelId="{41722D81-0BCA-4ADE-B431-AA5C7B51B8B4}">
      <dsp:nvSpPr>
        <dsp:cNvPr id="0" name=""/>
        <dsp:cNvSpPr/>
      </dsp:nvSpPr>
      <dsp:spPr>
        <a:xfrm>
          <a:off x="4764119" y="401653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WaypointFollower</a:t>
          </a:r>
          <a:endParaRPr lang="en-US" sz="6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velocity2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2 at velocity2 along the road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4915798" y="4095068"/>
        <a:ext cx="895881" cy="463847"/>
      </dsp:txXfrm>
    </dsp:sp>
    <dsp:sp modelId="{E45EC5C4-6829-4D5C-AD72-336A92EC1509}">
      <dsp:nvSpPr>
        <dsp:cNvPr id="0" name=""/>
        <dsp:cNvSpPr/>
      </dsp:nvSpPr>
      <dsp:spPr>
        <a:xfrm>
          <a:off x="2310567" y="5392212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310567" y="5392212"/>
        <a:ext cx="1079315" cy="206971"/>
      </dsp:txXfrm>
    </dsp:sp>
    <dsp:sp modelId="{3869E2A7-755B-405A-A648-4F604E7972C1}">
      <dsp:nvSpPr>
        <dsp:cNvPr id="0" name=""/>
        <dsp:cNvSpPr/>
      </dsp:nvSpPr>
      <dsp:spPr>
        <a:xfrm>
          <a:off x="6368233" y="4019118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18288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b="1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TriggerDistanceToVehicle</a:t>
          </a:r>
          <a:endParaRPr lang="en-US" sz="600" b="1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hicle2, </a:t>
          </a:r>
          <a:r>
            <a:rPr lang="en-US" sz="6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600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6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6519912" y="4097651"/>
        <a:ext cx="895881" cy="463847"/>
      </dsp:txXfrm>
    </dsp:sp>
    <dsp:sp modelId="{EBFEF5E8-460E-4117-83D4-6774E85EF7CF}">
      <dsp:nvSpPr>
        <dsp:cNvPr id="0" name=""/>
        <dsp:cNvSpPr/>
      </dsp:nvSpPr>
      <dsp:spPr>
        <a:xfrm>
          <a:off x="2256945" y="5567703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256945" y="5567703"/>
        <a:ext cx="1079315" cy="206971"/>
      </dsp:txXfrm>
    </dsp:sp>
    <dsp:sp modelId="{C12AC7B1-2875-4FDA-8F7A-08321A657A2F}">
      <dsp:nvSpPr>
        <dsp:cNvPr id="0" name=""/>
        <dsp:cNvSpPr/>
      </dsp:nvSpPr>
      <dsp:spPr>
        <a:xfrm>
          <a:off x="7171891" y="3042926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87618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AccelerateToCatchUp</a:t>
          </a:r>
          <a:endParaRPr lang="en-US" sz="5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1, vehicle2, </a:t>
          </a:r>
          <a:r>
            <a:rPr lang="en-US" sz="5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, </a:t>
          </a:r>
          <a:r>
            <a:rPr lang="en-US" sz="5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elta_velocity</a:t>
          </a:r>
          <a:endParaRPr lang="en-US" sz="500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5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7323570" y="3121459"/>
        <a:ext cx="895881" cy="463847"/>
      </dsp:txXfrm>
    </dsp:sp>
    <dsp:sp modelId="{053374C8-8DCA-4AFE-A140-CEEC3EB4697D}">
      <dsp:nvSpPr>
        <dsp:cNvPr id="0" name=""/>
        <dsp:cNvSpPr/>
      </dsp:nvSpPr>
      <dsp:spPr>
        <a:xfrm>
          <a:off x="1805267" y="5465496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1805267" y="5465496"/>
        <a:ext cx="1079315" cy="206971"/>
      </dsp:txXfrm>
    </dsp:sp>
    <dsp:sp modelId="{FC440CED-6F74-4356-8DD1-5422C26ED312}">
      <dsp:nvSpPr>
        <dsp:cNvPr id="0" name=""/>
        <dsp:cNvSpPr/>
      </dsp:nvSpPr>
      <dsp:spPr>
        <a:xfrm>
          <a:off x="8786426" y="3036872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keep_drive</a:t>
          </a:r>
          <a:endParaRPr lang="en-US" sz="6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Drives the target vehicle at a defined speed until it reaches a defined distance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8938105" y="3115405"/>
        <a:ext cx="895881" cy="463847"/>
      </dsp:txXfrm>
    </dsp:sp>
    <dsp:sp modelId="{7E990F88-3AAE-499C-A89C-0757FA631442}">
      <dsp:nvSpPr>
        <dsp:cNvPr id="0" name=""/>
        <dsp:cNvSpPr/>
      </dsp:nvSpPr>
      <dsp:spPr>
        <a:xfrm>
          <a:off x="2601389" y="5548624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601389" y="5548624"/>
        <a:ext cx="1079315" cy="206971"/>
      </dsp:txXfrm>
    </dsp:sp>
    <dsp:sp modelId="{8969A560-A00C-422E-AF53-E1A16D840F32}">
      <dsp:nvSpPr>
        <dsp:cNvPr id="0" name=""/>
        <dsp:cNvSpPr/>
      </dsp:nvSpPr>
      <dsp:spPr>
        <a:xfrm>
          <a:off x="7981965" y="401653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WaypointFollower</a:t>
          </a:r>
          <a:endParaRPr lang="en-US" sz="6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velocity2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Drives vehicle2 at velocity2 along the road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8133644" y="4095068"/>
        <a:ext cx="895881" cy="463847"/>
      </dsp:txXfrm>
    </dsp:sp>
    <dsp:sp modelId="{8F1D18B6-9109-4441-BB8B-9E8E7B89C1E7}">
      <dsp:nvSpPr>
        <dsp:cNvPr id="0" name=""/>
        <dsp:cNvSpPr/>
      </dsp:nvSpPr>
      <dsp:spPr>
        <a:xfrm>
          <a:off x="2175617" y="5272140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175617" y="5272140"/>
        <a:ext cx="1079315" cy="206971"/>
      </dsp:txXfrm>
    </dsp:sp>
    <dsp:sp modelId="{C6280845-B7EE-4C0F-8788-13E584DE787E}">
      <dsp:nvSpPr>
        <dsp:cNvPr id="0" name=""/>
        <dsp:cNvSpPr/>
      </dsp:nvSpPr>
      <dsp:spPr>
        <a:xfrm>
          <a:off x="9585275" y="4022589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87618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InTriggerDistanceToLocation</a:t>
          </a:r>
          <a:endParaRPr lang="en-US" sz="500" b="0" kern="1200" dirty="0" smtClean="0">
            <a:solidFill>
              <a:srgbClr val="FFFFFF"/>
            </a:solidFill>
            <a:latin typeface="Porsche Next TT"/>
            <a:ea typeface="+mn-ea"/>
            <a:cs typeface="+mn-cs"/>
          </a:endParaRP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</a:t>
          </a:r>
          <a:r>
            <a:rPr lang="en-US" sz="5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target_location</a:t>
          </a: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, </a:t>
          </a:r>
          <a:r>
            <a:rPr lang="en-US" sz="5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 relative distance&lt;</a:t>
          </a:r>
          <a:r>
            <a:rPr lang="en-US" sz="5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trigger_distance</a:t>
          </a:r>
          <a:endParaRPr lang="en-US" sz="5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9736954" y="4101122"/>
        <a:ext cx="895881" cy="463847"/>
      </dsp:txXfrm>
    </dsp:sp>
    <dsp:sp modelId="{3B3946CE-A131-4980-BD91-239DD2B5CEF2}">
      <dsp:nvSpPr>
        <dsp:cNvPr id="0" name=""/>
        <dsp:cNvSpPr/>
      </dsp:nvSpPr>
      <dsp:spPr>
        <a:xfrm>
          <a:off x="2029637" y="5503049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029637" y="5503049"/>
        <a:ext cx="1079315" cy="206971"/>
      </dsp:txXfrm>
    </dsp:sp>
    <dsp:sp modelId="{8106F296-A829-4098-B599-D55B8117FF30}">
      <dsp:nvSpPr>
        <dsp:cNvPr id="0" name=""/>
        <dsp:cNvSpPr/>
      </dsp:nvSpPr>
      <dsp:spPr>
        <a:xfrm>
          <a:off x="10390540" y="3039455"/>
          <a:ext cx="1199239" cy="620913"/>
        </a:xfrm>
        <a:prstGeom prst="hexagon">
          <a:avLst/>
        </a:prstGeom>
        <a:solidFill>
          <a:srgbClr val="4C7C9E"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182880" rIns="3810" bIns="87618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b="0" kern="1200" dirty="0" err="1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StopVehicle</a:t>
          </a:r>
          <a:endParaRPr lang="en-US" sz="600" b="1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Input: vehicle2, </a:t>
          </a:r>
          <a:r>
            <a:rPr lang="en-US" sz="600" kern="1200" dirty="0" err="1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max_brake</a:t>
          </a:r>
          <a:endParaRPr lang="en-US" sz="600" kern="1200" dirty="0" smtClean="0">
            <a:solidFill>
              <a:srgbClr val="FFFFFF"/>
            </a:solidFill>
            <a:latin typeface="Porsche Next TT" panose="020B0504020101010102" pitchFamily="34" charset="0"/>
            <a:ea typeface="+mn-ea"/>
            <a:cs typeface="Porsche Next TT" panose="020B0504020101010102" pitchFamily="34" charset="0"/>
          </a:endParaRP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>
              <a:solidFill>
                <a:srgbClr val="FFFFFF"/>
              </a:solidFill>
              <a:latin typeface="Porsche Next TT" panose="020B0504020101010102" pitchFamily="34" charset="0"/>
              <a:ea typeface="+mn-ea"/>
              <a:cs typeface="Porsche Next TT" panose="020B0504020101010102" pitchFamily="34" charset="0"/>
            </a:rPr>
            <a:t>SUCCES if</a:t>
          </a:r>
          <a:r>
            <a:rPr lang="en-US" sz="600" b="0" kern="1200" dirty="0" smtClean="0">
              <a:solidFill>
                <a:srgbClr val="FFFFFF"/>
              </a:solidFill>
              <a:latin typeface="Porsche Next TT"/>
              <a:ea typeface="+mn-ea"/>
              <a:cs typeface="+mn-cs"/>
            </a:rPr>
            <a:t> the actor stopped moving</a:t>
          </a:r>
          <a:endParaRPr lang="en-US" sz="600" kern="1200" dirty="0">
            <a:solidFill>
              <a:srgbClr val="FFFFFF"/>
            </a:solidFill>
            <a:latin typeface="Porsche Next TT"/>
            <a:ea typeface="+mn-ea"/>
            <a:cs typeface="+mn-cs"/>
          </a:endParaRPr>
        </a:p>
      </dsp:txBody>
      <dsp:txXfrm>
        <a:off x="10542219" y="3117988"/>
        <a:ext cx="895881" cy="463847"/>
      </dsp:txXfrm>
    </dsp:sp>
    <dsp:sp modelId="{C3DD51E6-DCE1-40D9-A7E9-4B9F808E4318}">
      <dsp:nvSpPr>
        <dsp:cNvPr id="0" name=""/>
        <dsp:cNvSpPr/>
      </dsp:nvSpPr>
      <dsp:spPr>
        <a:xfrm>
          <a:off x="2279913" y="5604040"/>
          <a:ext cx="1079315" cy="206971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10795" cap="flat" cmpd="sng" algn="ctr">
          <a:solidFill>
            <a:srgbClr val="4C7C9E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Porsche Next TT"/>
            <a:ea typeface="+mn-ea"/>
            <a:cs typeface="+mn-cs"/>
          </a:endParaRPr>
        </a:p>
      </dsp:txBody>
      <dsp:txXfrm>
        <a:off x="2279913" y="5604040"/>
        <a:ext cx="1079315" cy="2069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7D5459-D0FE-422D-88C8-0A3717FCF3A7}" type="datetime1">
              <a:rPr lang="en-US" smtClean="0"/>
              <a:t>9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312D6C-6D81-4E8F-8401-3D4CFA545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1826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FF6D20-44F3-42B6-BF99-BCD505078B56}" type="datetime1">
              <a:rPr lang="en-US" smtClean="0"/>
              <a:t>9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17CAB3-FE0B-4C07-ABCD-C14DF3AB65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3933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DC16A6-BE39-4008-AAB2-0784B8E552F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9662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DC16A6-BE39-4008-AAB2-0784B8E552F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172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765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6112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9722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56000" y="2703922"/>
            <a:ext cx="2880001" cy="1450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2869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seite -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9757" y="3112669"/>
            <a:ext cx="11517281" cy="506487"/>
          </a:xfrm>
          <a:prstGeom prst="rect">
            <a:avLst/>
          </a:prstGeom>
        </p:spPr>
        <p:txBody>
          <a:bodyPr/>
          <a:lstStyle>
            <a:lvl1pPr algn="l">
              <a:defRPr sz="4000" b="1">
                <a:solidFill>
                  <a:srgbClr val="4C7DA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Titel der Präsentatio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39757" y="3802032"/>
            <a:ext cx="11517281" cy="12961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accent2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Dies ist der Untertitel. Untertitel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-1" y="6381328"/>
            <a:ext cx="12192000" cy="476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Porsche Next TT" panose="020B0504020101010102" pitchFamily="34" charset="0"/>
              <a:cs typeface="Porsche Next TT" panose="020B0504020101010102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2294" y="5504364"/>
            <a:ext cx="2999888" cy="6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35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2556" y="1780121"/>
            <a:ext cx="5744900" cy="4457192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Hier kommt der erste </a:t>
            </a:r>
            <a:r>
              <a:rPr lang="de-DE" err="1"/>
              <a:t>Agendapunkt</a:t>
            </a:r>
            <a:endParaRPr lang="de-DE"/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334966" y="555991"/>
            <a:ext cx="11483198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 baseline="0">
                <a:solidFill>
                  <a:schemeClr val="accent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Titel der Agenda durch Klicken bearbeiten</a:t>
            </a:r>
          </a:p>
        </p:txBody>
      </p:sp>
      <p:sp>
        <p:nvSpPr>
          <p:cNvPr id="19" name="Untertitel 2"/>
          <p:cNvSpPr>
            <a:spLocks noGrp="1"/>
          </p:cNvSpPr>
          <p:nvPr>
            <p:ph type="subTitle" idx="11" hasCustomPrompt="1"/>
          </p:nvPr>
        </p:nvSpPr>
        <p:spPr>
          <a:xfrm>
            <a:off x="339759" y="999117"/>
            <a:ext cx="11478405" cy="43204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2000" b="0" baseline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Untertitel der Agenda durch Klicken bearbeiten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47188" y="1780126"/>
            <a:ext cx="5744812" cy="4457189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307140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45975" y="5229204"/>
            <a:ext cx="11478405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1052740"/>
            <a:ext cx="12192000" cy="3888431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4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43398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mit Untertitel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2"/>
          <p:cNvSpPr>
            <a:spLocks noGrp="1"/>
          </p:cNvSpPr>
          <p:nvPr>
            <p:ph idx="1"/>
          </p:nvPr>
        </p:nvSpPr>
        <p:spPr>
          <a:xfrm>
            <a:off x="334963" y="1632780"/>
            <a:ext cx="11522076" cy="4604532"/>
          </a:xfrm>
          <a:prstGeom prst="rect">
            <a:avLst/>
          </a:prstGeom>
        </p:spPr>
        <p:txBody>
          <a:bodyPr lIns="90000"/>
          <a:lstStyle>
            <a:lvl1pPr marL="411015" indent="-411015">
              <a:spcBef>
                <a:spcPts val="719"/>
              </a:spcBef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960940" indent="-412920">
              <a:spcBef>
                <a:spcPts val="719"/>
              </a:spcBef>
              <a:buClr>
                <a:srgbClr val="4C7C9E"/>
              </a:buClr>
              <a:buSzPct val="130000"/>
              <a:buFont typeface="Symbol" pitchFamily="18" charset="2"/>
              <a:buChar char="-"/>
              <a:defRPr sz="1600" b="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396693" indent="-313971">
              <a:spcBef>
                <a:spcPts val="719"/>
              </a:spcBef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1832446" indent="-342514">
              <a:spcBef>
                <a:spcPts val="719"/>
              </a:spcBef>
              <a:buClr>
                <a:srgbClr val="4C7C9E"/>
              </a:buClr>
              <a:buSzPct val="130000"/>
              <a:buFont typeface="Symbol" pitchFamily="18" charset="2"/>
              <a:buChar char="-"/>
              <a:defRPr sz="1600" b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256781" indent="-342514">
              <a:buClr>
                <a:srgbClr val="4C7C9E"/>
              </a:buClr>
              <a:buFont typeface="Porsche News Gothic" pitchFamily="2" charset="0"/>
              <a:buChar char="&gt;"/>
              <a:tabLst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  <a:lvl6pPr marL="2587878" indent="-274011">
              <a:buClr>
                <a:srgbClr val="4C7C9E"/>
              </a:buClr>
              <a:buFont typeface="Symbol" pitchFamily="18" charset="2"/>
              <a:buChar char="-"/>
              <a:tabLst>
                <a:tab pos="2905655" algn="l"/>
              </a:tabLst>
              <a:defRPr sz="1438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Untertitel 2"/>
          <p:cNvSpPr>
            <a:spLocks noGrp="1"/>
          </p:cNvSpPr>
          <p:nvPr>
            <p:ph type="subTitle" idx="11"/>
          </p:nvPr>
        </p:nvSpPr>
        <p:spPr>
          <a:xfrm>
            <a:off x="334963" y="1007662"/>
            <a:ext cx="11522076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8888260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2"/>
          <p:cNvSpPr>
            <a:spLocks noGrp="1"/>
          </p:cNvSpPr>
          <p:nvPr>
            <p:ph idx="1"/>
          </p:nvPr>
        </p:nvSpPr>
        <p:spPr>
          <a:xfrm>
            <a:off x="334965" y="1268763"/>
            <a:ext cx="11525929" cy="5040559"/>
          </a:xfrm>
          <a:prstGeom prst="rect">
            <a:avLst/>
          </a:prstGeom>
        </p:spPr>
        <p:txBody>
          <a:bodyPr lIns="90000" rIns="90000"/>
          <a:lstStyle>
            <a:lvl1pPr marL="411015" indent="-411015">
              <a:spcBef>
                <a:spcPts val="719"/>
              </a:spcBef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960940" indent="-412920">
              <a:spcBef>
                <a:spcPts val="719"/>
              </a:spcBef>
              <a:buClr>
                <a:srgbClr val="4C7C9E"/>
              </a:buClr>
              <a:buSzPct val="130000"/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396693" indent="-313971">
              <a:spcBef>
                <a:spcPts val="719"/>
              </a:spcBef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1832446" indent="-342514">
              <a:spcBef>
                <a:spcPts val="719"/>
              </a:spcBef>
              <a:buClr>
                <a:srgbClr val="4C7C9E"/>
              </a:buClr>
              <a:buSzPct val="130000"/>
              <a:buFont typeface="Symbol" pitchFamily="18" charset="2"/>
              <a:buChar char="-"/>
              <a:defRPr sz="160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256781" indent="-342514">
              <a:buClr>
                <a:srgbClr val="4C7C9E"/>
              </a:buClr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  <a:lvl6pPr marL="2587878" indent="-274011">
              <a:buClr>
                <a:srgbClr val="4C7C9E"/>
              </a:buClr>
              <a:buFont typeface="Symbol" pitchFamily="18" charset="2"/>
              <a:buChar char="-"/>
              <a:defRPr sz="1438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803001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Untertitel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Untertitel 2"/>
          <p:cNvSpPr>
            <a:spLocks noGrp="1"/>
          </p:cNvSpPr>
          <p:nvPr>
            <p:ph type="subTitle" idx="11"/>
          </p:nvPr>
        </p:nvSpPr>
        <p:spPr>
          <a:xfrm>
            <a:off x="334965" y="1012729"/>
            <a:ext cx="11525929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7163274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ohne Untertitel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7150030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5847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61057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2"/>
          </p:nvPr>
        </p:nvSpPr>
        <p:spPr>
          <a:xfrm>
            <a:off x="334965" y="1004183"/>
            <a:ext cx="11525929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943874" y="1785485"/>
            <a:ext cx="6913166" cy="4451827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" y="1774026"/>
            <a:ext cx="4295800" cy="4463104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94626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mit Text rechts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61057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943874" y="1264910"/>
            <a:ext cx="6913166" cy="4972405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" y="1268761"/>
            <a:ext cx="4295800" cy="4968607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06252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4" y="561057"/>
            <a:ext cx="11525931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2"/>
          </p:nvPr>
        </p:nvSpPr>
        <p:spPr>
          <a:xfrm>
            <a:off x="334964" y="1004183"/>
            <a:ext cx="11525931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34965" y="1785188"/>
            <a:ext cx="6964544" cy="4452124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896202" y="1773728"/>
            <a:ext cx="4295800" cy="4463402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37861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mit Bild rechts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45236" y="1196753"/>
            <a:ext cx="6913166" cy="5040562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896202" y="1190691"/>
            <a:ext cx="4295800" cy="5046537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03615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inks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61057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2"/>
          </p:nvPr>
        </p:nvSpPr>
        <p:spPr>
          <a:xfrm>
            <a:off x="334965" y="1004183"/>
            <a:ext cx="11525929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456040" y="1785485"/>
            <a:ext cx="5404852" cy="4451827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4" hasCustomPrompt="1"/>
          </p:nvPr>
        </p:nvSpPr>
        <p:spPr>
          <a:xfrm>
            <a:off x="334966" y="1785484"/>
            <a:ext cx="5400675" cy="4451828"/>
          </a:xfrm>
          <a:prstGeom prst="rect">
            <a:avLst/>
          </a:prstGeom>
        </p:spPr>
        <p:txBody>
          <a:bodyPr/>
          <a:lstStyle>
            <a:lvl1pPr>
              <a:defRPr lang="de-DE" sz="2000" kern="1200" baseline="0" dirty="0">
                <a:solidFill>
                  <a:schemeClr val="tx1"/>
                </a:solidFill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defRPr>
            </a:lvl1pPr>
          </a:lstStyle>
          <a:p>
            <a:r>
              <a:rPr lang="de-DE"/>
              <a:t>Chart hier einfügen</a:t>
            </a:r>
          </a:p>
        </p:txBody>
      </p:sp>
    </p:spTree>
    <p:extLst>
      <p:ext uri="{BB962C8B-B14F-4D97-AF65-F5344CB8AC3E}">
        <p14:creationId xmlns:p14="http://schemas.microsoft.com/office/powerpoint/2010/main" val="80758256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inks mit Text rechts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456040" y="1268764"/>
            <a:ext cx="5404852" cy="504055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4" hasCustomPrompt="1"/>
          </p:nvPr>
        </p:nvSpPr>
        <p:spPr>
          <a:xfrm>
            <a:off x="334966" y="1268761"/>
            <a:ext cx="5400675" cy="5040560"/>
          </a:xfrm>
          <a:prstGeom prst="rect">
            <a:avLst/>
          </a:prstGeom>
        </p:spPr>
        <p:txBody>
          <a:bodyPr/>
          <a:lstStyle>
            <a:lvl1pPr>
              <a:defRPr lang="de-DE" sz="2000" kern="1200" baseline="0" dirty="0">
                <a:solidFill>
                  <a:schemeClr val="tx1"/>
                </a:solidFill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defRPr>
            </a:lvl1pPr>
          </a:lstStyle>
          <a:p>
            <a:r>
              <a:rPr lang="de-DE"/>
              <a:t>Chart hier einfügen</a:t>
            </a:r>
          </a:p>
        </p:txBody>
      </p:sp>
    </p:spTree>
    <p:extLst>
      <p:ext uri="{BB962C8B-B14F-4D97-AF65-F5344CB8AC3E}">
        <p14:creationId xmlns:p14="http://schemas.microsoft.com/office/powerpoint/2010/main" val="21596907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2"/>
          </p:nvPr>
        </p:nvSpPr>
        <p:spPr>
          <a:xfrm>
            <a:off x="334965" y="1011687"/>
            <a:ext cx="11525929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3"/>
          </p:nvPr>
        </p:nvSpPr>
        <p:spPr>
          <a:xfrm>
            <a:off x="334915" y="1783050"/>
            <a:ext cx="11522173" cy="452627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218214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3"/>
          </p:nvPr>
        </p:nvSpPr>
        <p:spPr>
          <a:xfrm>
            <a:off x="334915" y="1268760"/>
            <a:ext cx="11522173" cy="504056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71949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Text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58622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2"/>
          </p:nvPr>
        </p:nvSpPr>
        <p:spPr>
          <a:xfrm>
            <a:off x="334965" y="1011687"/>
            <a:ext cx="11525929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042584" y="1777860"/>
            <a:ext cx="4083828" cy="4531460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1771594"/>
            <a:ext cx="3791744" cy="4539679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373985" y="1771594"/>
            <a:ext cx="3791744" cy="4539679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49412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Text mittig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5" y="561057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042584" y="1275430"/>
            <a:ext cx="4083828" cy="5033890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268760"/>
            <a:ext cx="3809553" cy="5043020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391792" y="1268759"/>
            <a:ext cx="3800208" cy="5043020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4137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597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felder und 2 Bild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68631" y="1636105"/>
            <a:ext cx="5589689" cy="1587350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334965" y="1636109"/>
            <a:ext cx="5674721" cy="1587351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3"/>
          </p:nvPr>
        </p:nvSpPr>
        <p:spPr>
          <a:xfrm>
            <a:off x="334963" y="1009056"/>
            <a:ext cx="11522076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3428398"/>
            <a:ext cx="6009684" cy="2880925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68630" y="3428397"/>
            <a:ext cx="5923371" cy="2880925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334965" y="561057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791241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felder und 2 Bildfelder ohn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334966" y="558622"/>
            <a:ext cx="11523355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68631" y="1268759"/>
            <a:ext cx="5589689" cy="1957328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334965" y="1268760"/>
            <a:ext cx="5674721" cy="1957328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3431027"/>
            <a:ext cx="6009684" cy="2878294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68630" y="3431026"/>
            <a:ext cx="5923371" cy="2878294"/>
          </a:xfrm>
          <a:prstGeom prst="rect">
            <a:avLst/>
          </a:prstGeom>
          <a:solidFill>
            <a:srgbClr val="E3E3E3"/>
          </a:solidFill>
        </p:spPr>
        <p:txBody>
          <a:bodyPr lIns="72000" tIns="72000">
            <a:noAutofit/>
          </a:bodyPr>
          <a:lstStyle>
            <a:lvl1pPr>
              <a:spcBef>
                <a:spcPts val="0"/>
              </a:spcBef>
              <a:defRPr sz="2000" b="0"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en-US" err="1"/>
              <a:t>Bild</a:t>
            </a:r>
            <a:r>
              <a:rPr lang="en-US"/>
              <a:t> </a:t>
            </a:r>
            <a:r>
              <a:rPr lang="en-US" err="1"/>
              <a:t>Platzhal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67423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spalten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Untertitel 2"/>
          <p:cNvSpPr>
            <a:spLocks noGrp="1"/>
          </p:cNvSpPr>
          <p:nvPr>
            <p:ph type="subTitle" idx="11"/>
          </p:nvPr>
        </p:nvSpPr>
        <p:spPr>
          <a:xfrm>
            <a:off x="334964" y="1009056"/>
            <a:ext cx="11525931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4966" y="1632783"/>
            <a:ext cx="5400996" cy="467653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456040" y="1632783"/>
            <a:ext cx="5404852" cy="467653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334965" y="561057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64423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spalten ohne Untertitel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ctrTitle"/>
          </p:nvPr>
        </p:nvSpPr>
        <p:spPr>
          <a:xfrm>
            <a:off x="334964" y="558622"/>
            <a:ext cx="11525931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4966" y="1268763"/>
            <a:ext cx="5400996" cy="504055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456040" y="1268763"/>
            <a:ext cx="5404852" cy="504055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3687374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spalten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Untertitel 2"/>
          <p:cNvSpPr>
            <a:spLocks noGrp="1"/>
          </p:cNvSpPr>
          <p:nvPr>
            <p:ph type="subTitle" idx="11"/>
          </p:nvPr>
        </p:nvSpPr>
        <p:spPr>
          <a:xfrm>
            <a:off x="334964" y="1011687"/>
            <a:ext cx="11525931" cy="43204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 b="0">
                <a:solidFill>
                  <a:srgbClr val="A9AAAC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548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6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4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2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8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6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4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ctrTitle"/>
          </p:nvPr>
        </p:nvSpPr>
        <p:spPr>
          <a:xfrm>
            <a:off x="334964" y="558622"/>
            <a:ext cx="11525931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4963" y="1635412"/>
            <a:ext cx="3737688" cy="4673908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257561" y="1635412"/>
            <a:ext cx="3728262" cy="4673908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132632" y="1635412"/>
            <a:ext cx="3728262" cy="4673908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36943791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spalten ohne Untertitel"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34963" y="1268763"/>
            <a:ext cx="3737688" cy="504055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257561" y="1268763"/>
            <a:ext cx="3728262" cy="504055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132632" y="1268763"/>
            <a:ext cx="3728262" cy="5040559"/>
          </a:xfrm>
          <a:prstGeom prst="rect">
            <a:avLst/>
          </a:prstGeom>
          <a:noFill/>
        </p:spPr>
        <p:txBody>
          <a:bodyPr/>
          <a:lstStyle>
            <a:lvl1pPr marL="411015" indent="-411015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2000" baseline="0">
                <a:solidFill>
                  <a:schemeClr val="tx1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  <a:lvl2pPr marL="890534" indent="-342514">
              <a:buClr>
                <a:srgbClr val="4C7C9E"/>
              </a:buClr>
              <a:buFont typeface="Symbol" pitchFamily="18" charset="2"/>
              <a:buChar char="-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2pPr>
            <a:lvl3pPr marL="1508962" indent="-412920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>
                <a:latin typeface="Porsche Next TT" panose="020B0504020101010102" pitchFamily="34" charset="0"/>
                <a:cs typeface="Porsche Next TT" panose="020B0504020101010102" pitchFamily="34" charset="0"/>
              </a:defRPr>
            </a:lvl3pPr>
            <a:lvl4pPr marL="2036051" indent="-391987">
              <a:buClr>
                <a:srgbClr val="4C7C9E"/>
              </a:buClr>
              <a:buFont typeface="Symbol" pitchFamily="18" charset="2"/>
              <a:buChar char="-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4pPr>
            <a:lvl5pPr marL="2584072" indent="-391987">
              <a:buClr>
                <a:srgbClr val="4C7C9E"/>
              </a:buClr>
              <a:buSzPct val="140000"/>
              <a:buFont typeface="Porsche News Gothic" pitchFamily="2" charset="0"/>
              <a:buChar char="&gt;"/>
              <a:defRPr sz="1600" baseline="0">
                <a:latin typeface="Porsche Next TT" panose="020B0504020101010102" pitchFamily="34" charset="0"/>
                <a:cs typeface="Porsche Next TT" panose="020B0504020101010102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334965" y="561057"/>
            <a:ext cx="11525929" cy="43204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cs typeface="Porsche Next TT" panose="020B0504020101010102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8948830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692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6797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8650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862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4271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80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8202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066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3027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9809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832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3990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555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25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2691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7426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520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754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Header"/>
          <p:cNvSpPr>
            <a:spLocks noChangeShapeType="1"/>
          </p:cNvSpPr>
          <p:nvPr userDrawn="1"/>
        </p:nvSpPr>
        <p:spPr bwMode="auto">
          <a:xfrm>
            <a:off x="-1" y="451034"/>
            <a:ext cx="12192000" cy="0"/>
          </a:xfrm>
          <a:prstGeom prst="line">
            <a:avLst/>
          </a:prstGeom>
          <a:noFill/>
          <a:ln w="12700">
            <a:solidFill>
              <a:srgbClr val="E3E3E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Porsche Next TT" panose="020B0504020101010102" pitchFamily="34" charset="0"/>
              <a:cs typeface="Porsche Next TT" panose="020B0504020101010102" pitchFamily="34" charset="0"/>
            </a:endParaRPr>
          </a:p>
        </p:txBody>
      </p:sp>
      <p:sp>
        <p:nvSpPr>
          <p:cNvPr id="4" name="lineFooter"/>
          <p:cNvSpPr>
            <a:spLocks noChangeShapeType="1"/>
          </p:cNvSpPr>
          <p:nvPr userDrawn="1"/>
        </p:nvSpPr>
        <p:spPr bwMode="auto">
          <a:xfrm>
            <a:off x="1" y="6411870"/>
            <a:ext cx="12191999" cy="2"/>
          </a:xfrm>
          <a:prstGeom prst="line">
            <a:avLst/>
          </a:prstGeom>
          <a:noFill/>
          <a:ln w="12700">
            <a:solidFill>
              <a:srgbClr val="E3E3E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>
              <a:latin typeface="Porsche Next TT" panose="020B0504020101010102" pitchFamily="34" charset="0"/>
              <a:cs typeface="Porsche Next TT" panose="020B0504020101010102" pitchFamily="34" charset="0"/>
            </a:endParaRPr>
          </a:p>
        </p:txBody>
      </p:sp>
      <p:sp>
        <p:nvSpPr>
          <p:cNvPr id="5" name="txtDateAndPage"/>
          <p:cNvSpPr txBox="1">
            <a:spLocks noChangeArrowheads="1"/>
          </p:cNvSpPr>
          <p:nvPr userDrawn="1"/>
        </p:nvSpPr>
        <p:spPr bwMode="auto">
          <a:xfrm>
            <a:off x="382489" y="6446001"/>
            <a:ext cx="297806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Porsche Franklin Gothic Condens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orsche Franklin Gothic Condens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orsche Franklin Gothic Condens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orsche Franklin Gothic Condens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orsche Franklin Gothic Condens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9pPr>
          </a:lstStyle>
          <a:p>
            <a:pPr>
              <a:defRPr/>
            </a:pPr>
            <a:fld id="{EA475C80-492D-4221-8916-5C316AD73FBB}" type="datetime1">
              <a:rPr lang="de-DE" sz="1100" smtClean="0">
                <a:solidFill>
                  <a:schemeClr val="accent2">
                    <a:lumMod val="75000"/>
                  </a:schemeClr>
                </a:solidFill>
                <a:latin typeface="Porsche Next TT" panose="020B0504020101010102" pitchFamily="34" charset="0"/>
                <a:cs typeface="Porsche Next TT" panose="020B0504020101010102" pitchFamily="34" charset="0"/>
              </a:rPr>
              <a:pPr>
                <a:defRPr/>
              </a:pPr>
              <a:t>20.09.2022</a:t>
            </a:fld>
            <a:endParaRPr lang="de-DE" sz="1100">
              <a:solidFill>
                <a:schemeClr val="accent2">
                  <a:lumMod val="75000"/>
                </a:schemeClr>
              </a:solidFill>
              <a:latin typeface="Porsche Next TT" panose="020B0504020101010102" pitchFamily="34" charset="0"/>
              <a:cs typeface="Porsche Next TT" panose="020B0504020101010102" pitchFamily="34" charset="0"/>
            </a:endParaRPr>
          </a:p>
          <a:p>
            <a:pPr>
              <a:defRPr/>
            </a:pPr>
            <a:r>
              <a:rPr lang="de-DE" sz="1100">
                <a:solidFill>
                  <a:schemeClr val="accent2">
                    <a:lumMod val="75000"/>
                  </a:schemeClr>
                </a:solidFill>
                <a:latin typeface="Porsche Next TT" panose="020B0504020101010102" pitchFamily="34" charset="0"/>
                <a:cs typeface="Porsche Next TT" panose="020B0504020101010102" pitchFamily="34" charset="0"/>
              </a:rPr>
              <a:t>- </a:t>
            </a:r>
            <a:fld id="{AEBC67F7-E424-4E2E-8F6F-878A8199C4CD}" type="slidenum">
              <a:rPr lang="de-DE" sz="1100" smtClean="0">
                <a:solidFill>
                  <a:schemeClr val="accent2">
                    <a:lumMod val="75000"/>
                  </a:schemeClr>
                </a:solidFill>
                <a:latin typeface="Porsche Next TT" panose="020B0504020101010102" pitchFamily="34" charset="0"/>
                <a:cs typeface="Porsche Next TT" panose="020B0504020101010102" pitchFamily="34" charset="0"/>
              </a:rPr>
              <a:pPr>
                <a:defRPr/>
              </a:pPr>
              <a:t>‹#›</a:t>
            </a:fld>
            <a:r>
              <a:rPr lang="de-DE" sz="1100">
                <a:solidFill>
                  <a:schemeClr val="accent2">
                    <a:lumMod val="75000"/>
                  </a:schemeClr>
                </a:solidFill>
                <a:latin typeface="Porsche Next TT" panose="020B0504020101010102" pitchFamily="34" charset="0"/>
                <a:cs typeface="Porsche Next TT" panose="020B0504020101010102" pitchFamily="34" charset="0"/>
              </a:rPr>
              <a:t> -</a:t>
            </a:r>
          </a:p>
        </p:txBody>
      </p:sp>
      <p:sp>
        <p:nvSpPr>
          <p:cNvPr id="6" name="txtTitleAndAuthor"/>
          <p:cNvSpPr txBox="1">
            <a:spLocks noChangeArrowheads="1"/>
          </p:cNvSpPr>
          <p:nvPr userDrawn="1"/>
        </p:nvSpPr>
        <p:spPr bwMode="auto">
          <a:xfrm>
            <a:off x="2681213" y="6446001"/>
            <a:ext cx="68295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Porsche Franklin Gothic Condens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orsche Franklin Gothic Condens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orsche Franklin Gothic Condens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orsche Franklin Gothic Condens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orsche Franklin Gothic Condens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rsche Franklin Gothic Condens" pitchFamily="34" charset="0"/>
              </a:defRPr>
            </a:lvl9pPr>
          </a:lstStyle>
          <a:p>
            <a:pPr algn="ctr">
              <a:defRPr/>
            </a:pPr>
            <a:r>
              <a:rPr lang="de-DE" sz="1100">
                <a:solidFill>
                  <a:schemeClr val="accent2">
                    <a:lumMod val="75000"/>
                  </a:schemeClr>
                </a:solidFill>
                <a:latin typeface="Porsche Next TT" panose="020B0504020101010102" pitchFamily="34" charset="0"/>
                <a:cs typeface="Porsche Next TT" panose="020B0504020101010102" pitchFamily="34" charset="0"/>
              </a:rPr>
              <a:t>Titel im Folienmaster bearbeiten</a:t>
            </a:r>
          </a:p>
          <a:p>
            <a:pPr algn="ctr">
              <a:defRPr/>
            </a:pPr>
            <a:r>
              <a:rPr lang="de-DE" sz="1100">
                <a:solidFill>
                  <a:schemeClr val="accent2">
                    <a:lumMod val="75000"/>
                  </a:schemeClr>
                </a:solidFill>
                <a:latin typeface="Porsche Next TT" panose="020B0504020101010102" pitchFamily="34" charset="0"/>
                <a:cs typeface="Porsche Next TT" panose="020B0504020101010102" pitchFamily="34" charset="0"/>
              </a:rPr>
              <a:t>Autor im Folienmaster bearbeite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9605" y="6457591"/>
            <a:ext cx="1857035" cy="374547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609" y="136969"/>
            <a:ext cx="2552783" cy="177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69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5274" kern="1200">
          <a:solidFill>
            <a:schemeClr val="tx1"/>
          </a:solidFill>
          <a:latin typeface="Porsche Franklin Gothic Condens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5pPr>
      <a:lvl6pPr marL="548022"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6pPr>
      <a:lvl7pPr marL="1096042"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7pPr>
      <a:lvl8pPr marL="1644064"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8pPr>
      <a:lvl9pPr marL="2192086" algn="l" rtl="0" eaLnBrk="1" fontAlgn="base" hangingPunct="1">
        <a:spcBef>
          <a:spcPct val="0"/>
        </a:spcBef>
        <a:spcAft>
          <a:spcPct val="0"/>
        </a:spcAft>
        <a:defRPr sz="5274">
          <a:solidFill>
            <a:schemeClr val="tx1"/>
          </a:solidFill>
          <a:latin typeface="Porsche Franklin Gothic Condens" pitchFamily="34" charset="0"/>
        </a:defRPr>
      </a:lvl9pPr>
    </p:titleStyle>
    <p:bodyStyle>
      <a:lvl1pPr marL="411015" indent="-41101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836" kern="1200">
          <a:solidFill>
            <a:schemeClr val="tx1"/>
          </a:solidFill>
          <a:latin typeface="Porsche Franklin Gothic Condens" pitchFamily="34" charset="0"/>
          <a:ea typeface="+mn-ea"/>
          <a:cs typeface="+mn-cs"/>
        </a:defRPr>
      </a:lvl1pPr>
      <a:lvl2pPr marL="890534" indent="-342514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356" kern="1200">
          <a:solidFill>
            <a:schemeClr val="tx1"/>
          </a:solidFill>
          <a:latin typeface="Porsche Franklin Gothic Condens" pitchFamily="34" charset="0"/>
          <a:ea typeface="+mn-ea"/>
          <a:cs typeface="+mn-cs"/>
        </a:defRPr>
      </a:lvl2pPr>
      <a:lvl3pPr marL="1370053" indent="-27401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77" kern="1200">
          <a:solidFill>
            <a:schemeClr val="tx1"/>
          </a:solidFill>
          <a:latin typeface="Porsche Franklin Gothic Condens" pitchFamily="34" charset="0"/>
          <a:ea typeface="+mn-ea"/>
          <a:cs typeface="+mn-cs"/>
        </a:defRPr>
      </a:lvl3pPr>
      <a:lvl4pPr marL="1918074" indent="-27401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397" kern="1200">
          <a:solidFill>
            <a:schemeClr val="tx1"/>
          </a:solidFill>
          <a:latin typeface="Porsche Franklin Gothic Condens" pitchFamily="34" charset="0"/>
          <a:ea typeface="+mn-ea"/>
          <a:cs typeface="+mn-cs"/>
        </a:defRPr>
      </a:lvl4pPr>
      <a:lvl5pPr marL="2466095" indent="-27401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397" kern="1200">
          <a:solidFill>
            <a:schemeClr val="tx1"/>
          </a:solidFill>
          <a:latin typeface="Porsche Franklin Gothic Condens" pitchFamily="34" charset="0"/>
          <a:ea typeface="+mn-ea"/>
          <a:cs typeface="+mn-cs"/>
        </a:defRPr>
      </a:lvl5pPr>
      <a:lvl6pPr marL="3014117" indent="-274011" algn="l" defTabSz="1096042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562138" indent="-274011" algn="l" defTabSz="1096042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110159" indent="-274011" algn="l" defTabSz="1096042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658181" indent="-274011" algn="l" defTabSz="1096042" rtl="0" eaLnBrk="1" latinLnBrk="0" hangingPunct="1">
        <a:spcBef>
          <a:spcPct val="20000"/>
        </a:spcBef>
        <a:buFont typeface="Arial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1pPr>
      <a:lvl2pPr marL="548022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2pPr>
      <a:lvl3pPr marL="1096042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3pPr>
      <a:lvl4pPr marL="1644064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4pPr>
      <a:lvl5pPr marL="2192086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5pPr>
      <a:lvl6pPr marL="2740106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6pPr>
      <a:lvl7pPr marL="3288128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7pPr>
      <a:lvl8pPr marL="3836149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8pPr>
      <a:lvl9pPr marL="4384170" algn="l" defTabSz="1096042" rtl="0" eaLnBrk="1" latinLnBrk="0" hangingPunct="1">
        <a:defRPr sz="215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857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hyperlink" Target="V2X_demo/showcase/OBU_Signal_Test.webm" TargetMode="External"/><Relationship Id="rId4" Type="http://schemas.openxmlformats.org/officeDocument/2006/relationships/image" Target="../media/image9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830.sv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hyperlink" Target="V2X_demo/showcase/demo2.mp4" TargetMode="External"/><Relationship Id="rId2" Type="http://schemas.openxmlformats.org/officeDocument/2006/relationships/hyperlink" Target="file:///C:\Users\GNLCGKW\Downloads\rosgraph.png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V2X_demo/showcase/demo1.mp4" TargetMode="Externa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6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83.sv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83.sv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2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-</a:t>
            </a:r>
          </a:p>
        </p:txBody>
      </p:sp>
      <p:sp>
        <p:nvSpPr>
          <p:cNvPr id="4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</p:spTree>
    <p:extLst>
      <p:ext uri="{BB962C8B-B14F-4D97-AF65-F5344CB8AC3E}">
        <p14:creationId xmlns:p14="http://schemas.microsoft.com/office/powerpoint/2010/main" val="3722912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0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342900" y="552450"/>
            <a:ext cx="11506200" cy="431800"/>
          </a:xfrm>
          <a:prstGeom prst="rect">
            <a:avLst/>
          </a:prstGeom>
        </p:spPr>
        <p:txBody>
          <a:bodyPr lIns="0" tIns="1651" rIns="0" bIns="1651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 baseline="0">
                <a:solidFill>
                  <a:schemeClr val="accent1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5pPr>
            <a:lvl6pPr marL="54802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6pPr>
            <a:lvl7pPr marL="109604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7pPr>
            <a:lvl8pPr marL="1644064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8pPr>
            <a:lvl9pPr marL="2192086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9pPr>
          </a:lstStyle>
          <a:p>
            <a:pPr lvl="0"/>
            <a:r>
              <a:rPr lang="en-US" dirty="0">
                <a:solidFill>
                  <a:srgbClr val="4C7C9E"/>
                </a:solidFill>
              </a:rPr>
              <a:t>Jupiter Twins ROS Topic </a:t>
            </a:r>
          </a:p>
        </p:txBody>
      </p:sp>
      <p:sp>
        <p:nvSpPr>
          <p:cNvPr id="15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472347" y="2140748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HV_Msg</a:t>
            </a:r>
            <a:endParaRPr lang="zh-CN" altLang="en-US" dirty="0"/>
          </a:p>
        </p:txBody>
      </p:sp>
      <p:sp>
        <p:nvSpPr>
          <p:cNvPr id="16" name="文本框 25">
            <a:extLst>
              <a:ext uri="{FF2B5EF4-FFF2-40B4-BE49-F238E27FC236}">
                <a16:creationId xmlns:a16="http://schemas.microsoft.com/office/drawing/2014/main" id="{DFB239A5-514E-6AF1-34E9-549EC832D90F}"/>
              </a:ext>
            </a:extLst>
          </p:cNvPr>
          <p:cNvSpPr txBox="1"/>
          <p:nvPr/>
        </p:nvSpPr>
        <p:spPr>
          <a:xfrm rot="16200000">
            <a:off x="508923" y="3354170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RV_Msg</a:t>
            </a:r>
            <a:endParaRPr lang="zh-CN" altLang="en-US" dirty="0"/>
          </a:p>
        </p:txBody>
      </p:sp>
      <p:cxnSp>
        <p:nvCxnSpPr>
          <p:cNvPr id="17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1086321" y="2594757"/>
            <a:ext cx="29879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1086321" y="3820372"/>
            <a:ext cx="298791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5822701"/>
              </p:ext>
            </p:extLst>
          </p:nvPr>
        </p:nvGraphicFramePr>
        <p:xfrm>
          <a:off x="1385112" y="2077710"/>
          <a:ext cx="9693703" cy="22043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Worksheet" r:id="rId5" imgW="8077342" imgH="1836389" progId="Excel.Sheet.12">
                  <p:embed/>
                </p:oleObj>
              </mc:Choice>
              <mc:Fallback>
                <p:oleObj name="Worksheet" r:id="rId5" imgW="8077342" imgH="183638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85112" y="2077710"/>
                        <a:ext cx="9693703" cy="22043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6455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1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7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 smtClean="0">
                <a:latin typeface="Porsche Next TT"/>
              </a:rPr>
              <a:t>ROS Driver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47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653315" y="979553"/>
            <a:ext cx="4729018" cy="9130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3306438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49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5364642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0" name="矩形: 圆角 3">
            <a:extLst>
              <a:ext uri="{FF2B5EF4-FFF2-40B4-BE49-F238E27FC236}">
                <a16:creationId xmlns:a16="http://schemas.microsoft.com/office/drawing/2014/main" id="{D6648072-F71C-38FF-341B-818D406704D5}"/>
              </a:ext>
            </a:extLst>
          </p:cNvPr>
          <p:cNvSpPr/>
          <p:nvPr/>
        </p:nvSpPr>
        <p:spPr>
          <a:xfrm>
            <a:off x="1000375" y="868249"/>
            <a:ext cx="10397302" cy="131000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1" name="文本框 4">
            <a:extLst>
              <a:ext uri="{FF2B5EF4-FFF2-40B4-BE49-F238E27FC236}">
                <a16:creationId xmlns:a16="http://schemas.microsoft.com/office/drawing/2014/main" id="{14B70F7B-11EA-F988-3C81-C0D5DD65A355}"/>
              </a:ext>
            </a:extLst>
          </p:cNvPr>
          <p:cNvSpPr txBox="1"/>
          <p:nvPr/>
        </p:nvSpPr>
        <p:spPr>
          <a:xfrm>
            <a:off x="5676138" y="1879054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PevaTec Carla</a:t>
            </a:r>
          </a:p>
        </p:txBody>
      </p:sp>
      <p:sp>
        <p:nvSpPr>
          <p:cNvPr id="52" name="矩形: 圆角 5">
            <a:extLst>
              <a:ext uri="{FF2B5EF4-FFF2-40B4-BE49-F238E27FC236}">
                <a16:creationId xmlns:a16="http://schemas.microsoft.com/office/drawing/2014/main" id="{ADD79E82-E782-1141-0329-5D148F19180B}"/>
              </a:ext>
            </a:extLst>
          </p:cNvPr>
          <p:cNvSpPr/>
          <p:nvPr/>
        </p:nvSpPr>
        <p:spPr>
          <a:xfrm>
            <a:off x="1843672" y="1139568"/>
            <a:ext cx="1781403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H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Host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3" name="矩形: 圆角 6">
            <a:extLst>
              <a:ext uri="{FF2B5EF4-FFF2-40B4-BE49-F238E27FC236}">
                <a16:creationId xmlns:a16="http://schemas.microsoft.com/office/drawing/2014/main" id="{1C75A3FF-3375-765A-7BBC-247541D74999}"/>
              </a:ext>
            </a:extLst>
          </p:cNvPr>
          <p:cNvSpPr/>
          <p:nvPr/>
        </p:nvSpPr>
        <p:spPr>
          <a:xfrm>
            <a:off x="4385601" y="1139568"/>
            <a:ext cx="1781404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R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Remote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54" name="直接箭头连接符 8">
            <a:extLst>
              <a:ext uri="{FF2B5EF4-FFF2-40B4-BE49-F238E27FC236}">
                <a16:creationId xmlns:a16="http://schemas.microsoft.com/office/drawing/2014/main" id="{AC17084F-492A-BC85-B8CD-6CAC8D6956C1}"/>
              </a:ext>
            </a:extLst>
          </p:cNvPr>
          <p:cNvCxnSpPr/>
          <p:nvPr/>
        </p:nvCxnSpPr>
        <p:spPr>
          <a:xfrm>
            <a:off x="2199144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箭头连接符 9">
            <a:extLst>
              <a:ext uri="{FF2B5EF4-FFF2-40B4-BE49-F238E27FC236}">
                <a16:creationId xmlns:a16="http://schemas.microsoft.com/office/drawing/2014/main" id="{62AE2116-A874-F190-AA2C-C84616435C25}"/>
              </a:ext>
            </a:extLst>
          </p:cNvPr>
          <p:cNvCxnSpPr/>
          <p:nvPr/>
        </p:nvCxnSpPr>
        <p:spPr>
          <a:xfrm>
            <a:off x="5769447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文本框 79">
            <a:extLst>
              <a:ext uri="{FF2B5EF4-FFF2-40B4-BE49-F238E27FC236}">
                <a16:creationId xmlns:a16="http://schemas.microsoft.com/office/drawing/2014/main" id="{0569FEC1-B86F-32BA-7DFC-43E95CD0BFCB}"/>
              </a:ext>
            </a:extLst>
          </p:cNvPr>
          <p:cNvSpPr txBox="1"/>
          <p:nvPr/>
        </p:nvSpPr>
        <p:spPr>
          <a:xfrm>
            <a:off x="2608194" y="2494993"/>
            <a:ext cx="30657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Carla-ROS-Bridge / Carla API</a:t>
            </a:r>
            <a:endParaRPr lang="en-US" altLang="zh-CN" dirty="0"/>
          </a:p>
        </p:txBody>
      </p:sp>
      <p:sp>
        <p:nvSpPr>
          <p:cNvPr id="57" name="矩形 14">
            <a:extLst>
              <a:ext uri="{FF2B5EF4-FFF2-40B4-BE49-F238E27FC236}">
                <a16:creationId xmlns:a16="http://schemas.microsoft.com/office/drawing/2014/main" id="{1F8FF050-09CA-775A-00CF-AC402A0992BF}"/>
              </a:ext>
            </a:extLst>
          </p:cNvPr>
          <p:cNvSpPr/>
          <p:nvPr/>
        </p:nvSpPr>
        <p:spPr>
          <a:xfrm>
            <a:off x="1843672" y="2464520"/>
            <a:ext cx="4323333" cy="449719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000376" y="2339616"/>
            <a:ext cx="6077581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矩形: 圆角 16">
            <a:extLst>
              <a:ext uri="{FF2B5EF4-FFF2-40B4-BE49-F238E27FC236}">
                <a16:creationId xmlns:a16="http://schemas.microsoft.com/office/drawing/2014/main" id="{B9204781-C2CD-82C6-D959-716F5DCE8BB0}"/>
              </a:ext>
            </a:extLst>
          </p:cNvPr>
          <p:cNvSpPr/>
          <p:nvPr/>
        </p:nvSpPr>
        <p:spPr>
          <a:xfrm>
            <a:off x="1742507" y="3311954"/>
            <a:ext cx="448118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Jupiter </a:t>
            </a:r>
            <a:r>
              <a:rPr lang="en-US" altLang="zh-CN" dirty="0" smtClean="0">
                <a:solidFill>
                  <a:schemeClr val="tx1"/>
                </a:solidFill>
              </a:rPr>
              <a:t>Twins Node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矩形: 圆角 17">
            <a:extLst>
              <a:ext uri="{FF2B5EF4-FFF2-40B4-BE49-F238E27FC236}">
                <a16:creationId xmlns:a16="http://schemas.microsoft.com/office/drawing/2014/main" id="{99284322-0806-6CC9-9B63-BF844E7F54F0}"/>
              </a:ext>
            </a:extLst>
          </p:cNvPr>
          <p:cNvSpPr/>
          <p:nvPr/>
        </p:nvSpPr>
        <p:spPr>
          <a:xfrm>
            <a:off x="2008997" y="5381124"/>
            <a:ext cx="2699569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Safety Function Node</a:t>
            </a:r>
          </a:p>
        </p:txBody>
      </p:sp>
      <p:cxnSp>
        <p:nvCxnSpPr>
          <p:cNvPr id="61" name="直接箭头连接符 10">
            <a:extLst>
              <a:ext uri="{FF2B5EF4-FFF2-40B4-BE49-F238E27FC236}">
                <a16:creationId xmlns:a16="http://schemas.microsoft.com/office/drawing/2014/main" id="{3E539011-3626-5CAA-4A3C-59BECA876184}"/>
              </a:ext>
            </a:extLst>
          </p:cNvPr>
          <p:cNvCxnSpPr>
            <a:cxnSpLocks/>
          </p:cNvCxnSpPr>
          <p:nvPr/>
        </p:nvCxnSpPr>
        <p:spPr>
          <a:xfrm flipV="1">
            <a:off x="3198446" y="1680231"/>
            <a:ext cx="0" cy="37008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箭头连接符 22">
            <a:extLst>
              <a:ext uri="{FF2B5EF4-FFF2-40B4-BE49-F238E27FC236}">
                <a16:creationId xmlns:a16="http://schemas.microsoft.com/office/drawing/2014/main" id="{74D195F7-E52B-07C9-D07E-DD2B1D91453C}"/>
              </a:ext>
            </a:extLst>
          </p:cNvPr>
          <p:cNvCxnSpPr/>
          <p:nvPr/>
        </p:nvCxnSpPr>
        <p:spPr>
          <a:xfrm>
            <a:off x="2199144" y="3871247"/>
            <a:ext cx="0" cy="1509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1528347" y="4093888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HV_Msg</a:t>
            </a:r>
            <a:endParaRPr lang="zh-CN" altLang="en-US" dirty="0"/>
          </a:p>
        </p:txBody>
      </p:sp>
      <p:sp>
        <p:nvSpPr>
          <p:cNvPr id="64" name="文本框 24">
            <a:extLst>
              <a:ext uri="{FF2B5EF4-FFF2-40B4-BE49-F238E27FC236}">
                <a16:creationId xmlns:a16="http://schemas.microsoft.com/office/drawing/2014/main" id="{1D4B74F3-739F-704D-1E93-884107093928}"/>
              </a:ext>
            </a:extLst>
          </p:cNvPr>
          <p:cNvSpPr txBox="1"/>
          <p:nvPr/>
        </p:nvSpPr>
        <p:spPr>
          <a:xfrm rot="16200000">
            <a:off x="6067795" y="477229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V2X_Msg</a:t>
            </a:r>
            <a:endParaRPr lang="zh-CN" altLang="en-US" dirty="0"/>
          </a:p>
        </p:txBody>
      </p:sp>
      <p:sp>
        <p:nvSpPr>
          <p:cNvPr id="65" name="文本框 25">
            <a:extLst>
              <a:ext uri="{FF2B5EF4-FFF2-40B4-BE49-F238E27FC236}">
                <a16:creationId xmlns:a16="http://schemas.microsoft.com/office/drawing/2014/main" id="{DFB239A5-514E-6AF1-34E9-549EC832D90F}"/>
              </a:ext>
            </a:extLst>
          </p:cNvPr>
          <p:cNvSpPr txBox="1"/>
          <p:nvPr/>
        </p:nvSpPr>
        <p:spPr>
          <a:xfrm rot="16200000">
            <a:off x="6025157" y="3618859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RV_Msg</a:t>
            </a:r>
            <a:endParaRPr lang="zh-CN" altLang="en-US" dirty="0"/>
          </a:p>
        </p:txBody>
      </p:sp>
      <p:cxnSp>
        <p:nvCxnSpPr>
          <p:cNvPr id="66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5769447" y="3865731"/>
            <a:ext cx="0" cy="481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矩形: 圆角 34">
            <a:extLst>
              <a:ext uri="{FF2B5EF4-FFF2-40B4-BE49-F238E27FC236}">
                <a16:creationId xmlns:a16="http://schemas.microsoft.com/office/drawing/2014/main" id="{C3AE624C-25E1-38E0-93E4-341D4E72A568}"/>
              </a:ext>
            </a:extLst>
          </p:cNvPr>
          <p:cNvSpPr/>
          <p:nvPr/>
        </p:nvSpPr>
        <p:spPr>
          <a:xfrm>
            <a:off x="4722264" y="4354664"/>
            <a:ext cx="2251133" cy="559293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ROS </a:t>
            </a:r>
            <a:r>
              <a:rPr lang="en-US" altLang="zh-CN" dirty="0" smtClean="0">
                <a:solidFill>
                  <a:schemeClr val="tx1"/>
                </a:solidFill>
              </a:rPr>
              <a:t>Driver Node</a:t>
            </a:r>
            <a:endParaRPr lang="en-US" altLang="zh-CN" dirty="0">
              <a:solidFill>
                <a:schemeClr val="tx1"/>
              </a:solidFill>
            </a:endParaRPr>
          </a:p>
        </p:txBody>
      </p:sp>
      <p:cxnSp>
        <p:nvCxnSpPr>
          <p:cNvPr id="68" name="直接箭头连接符 41">
            <a:extLst>
              <a:ext uri="{FF2B5EF4-FFF2-40B4-BE49-F238E27FC236}">
                <a16:creationId xmlns:a16="http://schemas.microsoft.com/office/drawing/2014/main" id="{0CD69044-95AD-2A80-7D88-B41422C825F3}"/>
              </a:ext>
            </a:extLst>
          </p:cNvPr>
          <p:cNvCxnSpPr>
            <a:stCxn id="48" idx="2"/>
            <a:endCxn id="49" idx="0"/>
          </p:cNvCxnSpPr>
          <p:nvPr/>
        </p:nvCxnSpPr>
        <p:spPr>
          <a:xfrm>
            <a:off x="10376925" y="3865731"/>
            <a:ext cx="0" cy="1498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连接符: 肘形 58">
            <a:extLst>
              <a:ext uri="{FF2B5EF4-FFF2-40B4-BE49-F238E27FC236}">
                <a16:creationId xmlns:a16="http://schemas.microsoft.com/office/drawing/2014/main" id="{9B54D8A8-FB70-D7F0-BA35-27A59AD5BD04}"/>
              </a:ext>
            </a:extLst>
          </p:cNvPr>
          <p:cNvCxnSpPr>
            <a:endCxn id="60" idx="3"/>
          </p:cNvCxnSpPr>
          <p:nvPr/>
        </p:nvCxnSpPr>
        <p:spPr>
          <a:xfrm rot="10800000" flipV="1">
            <a:off x="4708566" y="4915933"/>
            <a:ext cx="1093414" cy="744837"/>
          </a:xfrm>
          <a:prstGeom prst="bentConnector3">
            <a:avLst>
              <a:gd name="adj1" fmla="val 354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连接符: 肘形 60">
            <a:extLst>
              <a:ext uri="{FF2B5EF4-FFF2-40B4-BE49-F238E27FC236}">
                <a16:creationId xmlns:a16="http://schemas.microsoft.com/office/drawing/2014/main" id="{F2C7414F-F734-CEB5-1BC7-656AF04A8A70}"/>
              </a:ext>
            </a:extLst>
          </p:cNvPr>
          <p:cNvCxnSpPr>
            <a:cxnSpLocks/>
            <a:endCxn id="48" idx="1"/>
          </p:cNvCxnSpPr>
          <p:nvPr/>
        </p:nvCxnSpPr>
        <p:spPr>
          <a:xfrm flipV="1">
            <a:off x="6920933" y="3586085"/>
            <a:ext cx="2914066" cy="773303"/>
          </a:xfrm>
          <a:prstGeom prst="bentConnector3">
            <a:avLst>
              <a:gd name="adj1" fmla="val 23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连接符: 肘形 64">
            <a:extLst>
              <a:ext uri="{FF2B5EF4-FFF2-40B4-BE49-F238E27FC236}">
                <a16:creationId xmlns:a16="http://schemas.microsoft.com/office/drawing/2014/main" id="{B953843F-79E4-8845-88AA-2ACC9ABD8861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>
            <a:off x="6920933" y="4909235"/>
            <a:ext cx="2914067" cy="735055"/>
          </a:xfrm>
          <a:prstGeom prst="bentConnector3">
            <a:avLst>
              <a:gd name="adj1" fmla="val 9976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10688019" y="3962873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BSM_Msg</a:t>
            </a:r>
            <a:endParaRPr lang="zh-CN" altLang="en-US" dirty="0"/>
          </a:p>
        </p:txBody>
      </p:sp>
      <p:sp>
        <p:nvSpPr>
          <p:cNvPr id="73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3607509" y="6023292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ROS Environment</a:t>
            </a:r>
            <a:endParaRPr lang="en-US" altLang="zh-CN" dirty="0"/>
          </a:p>
        </p:txBody>
      </p:sp>
      <p:sp>
        <p:nvSpPr>
          <p:cNvPr id="74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7787357" y="4354664"/>
            <a:ext cx="212124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Signal Generator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75" name="Straight Arrow Connector 74"/>
          <p:cNvCxnSpPr>
            <a:stCxn id="74" idx="1"/>
            <a:endCxn id="67" idx="3"/>
          </p:cNvCxnSpPr>
          <p:nvPr/>
        </p:nvCxnSpPr>
        <p:spPr>
          <a:xfrm flipH="1">
            <a:off x="6973397" y="4634311"/>
            <a:ext cx="813960" cy="0"/>
          </a:xfrm>
          <a:prstGeom prst="straightConnector1">
            <a:avLst/>
          </a:prstGeom>
          <a:ln>
            <a:prstDash val="dash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105546" y="1156429"/>
            <a:ext cx="1458905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Carla Server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77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3936168" y="1196428"/>
            <a:ext cx="461665" cy="11506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Scenario</a:t>
            </a:r>
            <a:endParaRPr lang="zh-CN" altLang="en-US" dirty="0"/>
          </a:p>
        </p:txBody>
      </p:sp>
      <p:cxnSp>
        <p:nvCxnSpPr>
          <p:cNvPr id="78" name="Straight Arrow Connector 77"/>
          <p:cNvCxnSpPr>
            <a:stCxn id="47" idx="3"/>
            <a:endCxn id="76" idx="1"/>
          </p:cNvCxnSpPr>
          <p:nvPr/>
        </p:nvCxnSpPr>
        <p:spPr>
          <a:xfrm>
            <a:off x="6382333" y="1436076"/>
            <a:ext cx="27232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7821130" y="106334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TCP/IP</a:t>
            </a:r>
            <a:endParaRPr lang="zh-CN" altLang="en-US" dirty="0"/>
          </a:p>
        </p:txBody>
      </p:sp>
      <p:sp>
        <p:nvSpPr>
          <p:cNvPr id="80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7085322" y="2339616"/>
            <a:ext cx="4312355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8807632" y="6010817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V2X Syste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5234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2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545144" y="2206706"/>
            <a:ext cx="2023056" cy="2615529"/>
            <a:chOff x="2618171" y="1777507"/>
            <a:chExt cx="2023056" cy="2615529"/>
          </a:xfrm>
        </p:grpSpPr>
        <p:sp>
          <p:nvSpPr>
            <p:cNvPr id="15" name="矩形: 圆角 165">
              <a:extLst>
                <a:ext uri="{FF2B5EF4-FFF2-40B4-BE49-F238E27FC236}">
                  <a16:creationId xmlns:a16="http://schemas.microsoft.com/office/drawing/2014/main" id="{997BFA9D-B621-F7A8-24B5-FA74868F1D49}"/>
                </a:ext>
              </a:extLst>
            </p:cNvPr>
            <p:cNvSpPr/>
            <p:nvPr/>
          </p:nvSpPr>
          <p:spPr>
            <a:xfrm>
              <a:off x="2618171" y="1777507"/>
              <a:ext cx="2023056" cy="2615529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6" name="文本框 79">
              <a:extLst>
                <a:ext uri="{FF2B5EF4-FFF2-40B4-BE49-F238E27FC236}">
                  <a16:creationId xmlns:a16="http://schemas.microsoft.com/office/drawing/2014/main" id="{B3FFA5EF-4E0B-91D2-59FE-BE63A6947FBD}"/>
                </a:ext>
              </a:extLst>
            </p:cNvPr>
            <p:cNvSpPr txBox="1"/>
            <p:nvPr/>
          </p:nvSpPr>
          <p:spPr>
            <a:xfrm>
              <a:off x="2836550" y="4023704"/>
              <a:ext cx="171814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dirty="0"/>
                <a:t>V2X ROS Driver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011055" y="2235200"/>
              <a:ext cx="1274618" cy="3971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Send</a:t>
              </a:r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992390" y="3218873"/>
              <a:ext cx="1274618" cy="3971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Recv</a:t>
              </a:r>
              <a:endParaRPr lang="en-US" dirty="0"/>
            </a:p>
          </p:txBody>
        </p:sp>
      </p:grpSp>
      <p:cxnSp>
        <p:nvCxnSpPr>
          <p:cNvPr id="19" name="Straight Arrow Connector 18"/>
          <p:cNvCxnSpPr>
            <a:endCxn id="25" idx="1"/>
          </p:cNvCxnSpPr>
          <p:nvPr/>
        </p:nvCxnSpPr>
        <p:spPr>
          <a:xfrm flipV="1">
            <a:off x="3212646" y="2862981"/>
            <a:ext cx="2277101" cy="115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3987154" y="3419392"/>
            <a:ext cx="650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UDP</a:t>
            </a:r>
          </a:p>
        </p:txBody>
      </p:sp>
      <p:sp>
        <p:nvSpPr>
          <p:cNvPr id="21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3608825" y="3054616"/>
            <a:ext cx="13752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JSON format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5096863" y="2206706"/>
            <a:ext cx="2023056" cy="2615529"/>
            <a:chOff x="2618171" y="1777507"/>
            <a:chExt cx="2023056" cy="2615529"/>
          </a:xfrm>
        </p:grpSpPr>
        <p:sp>
          <p:nvSpPr>
            <p:cNvPr id="23" name="矩形: 圆角 165">
              <a:extLst>
                <a:ext uri="{FF2B5EF4-FFF2-40B4-BE49-F238E27FC236}">
                  <a16:creationId xmlns:a16="http://schemas.microsoft.com/office/drawing/2014/main" id="{997BFA9D-B621-F7A8-24B5-FA74868F1D49}"/>
                </a:ext>
              </a:extLst>
            </p:cNvPr>
            <p:cNvSpPr/>
            <p:nvPr/>
          </p:nvSpPr>
          <p:spPr>
            <a:xfrm>
              <a:off x="2618171" y="1777507"/>
              <a:ext cx="2023056" cy="2615529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4" name="文本框 79">
              <a:extLst>
                <a:ext uri="{FF2B5EF4-FFF2-40B4-BE49-F238E27FC236}">
                  <a16:creationId xmlns:a16="http://schemas.microsoft.com/office/drawing/2014/main" id="{B3FFA5EF-4E0B-91D2-59FE-BE63A6947FBD}"/>
                </a:ext>
              </a:extLst>
            </p:cNvPr>
            <p:cNvSpPr txBox="1"/>
            <p:nvPr/>
          </p:nvSpPr>
          <p:spPr>
            <a:xfrm>
              <a:off x="2992390" y="4023704"/>
              <a:ext cx="158629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dirty="0"/>
                <a:t>msg Handler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011055" y="2235200"/>
              <a:ext cx="1274618" cy="3971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Decode</a:t>
              </a:r>
              <a:endParaRPr lang="en-US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992390" y="3218873"/>
              <a:ext cx="1274618" cy="3971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/>
                <a:t>Encode </a:t>
              </a:r>
              <a:endParaRPr lang="en-US" dirty="0"/>
            </a:p>
          </p:txBody>
        </p:sp>
      </p:grpSp>
      <p:cxnSp>
        <p:nvCxnSpPr>
          <p:cNvPr id="27" name="Straight Arrow Connector 26"/>
          <p:cNvCxnSpPr>
            <a:stCxn id="26" idx="1"/>
            <a:endCxn id="18" idx="3"/>
          </p:cNvCxnSpPr>
          <p:nvPr/>
        </p:nvCxnSpPr>
        <p:spPr>
          <a:xfrm flipH="1">
            <a:off x="3193981" y="3846654"/>
            <a:ext cx="227710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7119919" y="2861787"/>
            <a:ext cx="1451946" cy="69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7079454" y="3054616"/>
            <a:ext cx="15670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ASN.1</a:t>
            </a:r>
          </a:p>
          <a:p>
            <a:pPr algn="ctr"/>
            <a:r>
              <a:rPr lang="en-US" altLang="zh-CN" dirty="0" smtClean="0"/>
              <a:t>UPER</a:t>
            </a:r>
            <a:r>
              <a:rPr lang="zh-CN" altLang="en-US" dirty="0" smtClean="0"/>
              <a:t> </a:t>
            </a:r>
            <a:r>
              <a:rPr lang="en-US" altLang="zh-CN" dirty="0" smtClean="0"/>
              <a:t>Coding</a:t>
            </a:r>
            <a:endParaRPr lang="en-US" altLang="zh-CN" dirty="0"/>
          </a:p>
        </p:txBody>
      </p:sp>
      <p:cxnSp>
        <p:nvCxnSpPr>
          <p:cNvPr id="30" name="Straight Arrow Connector 29"/>
          <p:cNvCxnSpPr/>
          <p:nvPr/>
        </p:nvCxnSpPr>
        <p:spPr>
          <a:xfrm flipH="1" flipV="1">
            <a:off x="7119919" y="3866629"/>
            <a:ext cx="1451946" cy="34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矩形: 圆角 165">
            <a:extLst>
              <a:ext uri="{FF2B5EF4-FFF2-40B4-BE49-F238E27FC236}">
                <a16:creationId xmlns:a16="http://schemas.microsoft.com/office/drawing/2014/main" id="{997BFA9D-B621-F7A8-24B5-FA74868F1D49}"/>
              </a:ext>
            </a:extLst>
          </p:cNvPr>
          <p:cNvSpPr/>
          <p:nvPr/>
        </p:nvSpPr>
        <p:spPr>
          <a:xfrm>
            <a:off x="8571865" y="2493153"/>
            <a:ext cx="2039108" cy="171371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2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8495840" y="3085526"/>
            <a:ext cx="2212051" cy="6677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dirty="0"/>
              <a:t>Basic Safety Message (BSM)</a:t>
            </a:r>
          </a:p>
        </p:txBody>
      </p:sp>
      <p:sp>
        <p:nvSpPr>
          <p:cNvPr id="33" name="矩形: 圆角 165">
            <a:extLst>
              <a:ext uri="{FF2B5EF4-FFF2-40B4-BE49-F238E27FC236}">
                <a16:creationId xmlns:a16="http://schemas.microsoft.com/office/drawing/2014/main" id="{997BFA9D-B621-F7A8-24B5-FA74868F1D49}"/>
              </a:ext>
            </a:extLst>
          </p:cNvPr>
          <p:cNvSpPr/>
          <p:nvPr/>
        </p:nvSpPr>
        <p:spPr>
          <a:xfrm>
            <a:off x="4913745" y="2059710"/>
            <a:ext cx="5920510" cy="297410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4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7639485" y="4639266"/>
            <a:ext cx="650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OBU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2083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3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342900" y="552450"/>
            <a:ext cx="11506200" cy="431800"/>
          </a:xfrm>
          <a:prstGeom prst="rect">
            <a:avLst/>
          </a:prstGeom>
        </p:spPr>
        <p:txBody>
          <a:bodyPr lIns="0" tIns="1651" rIns="0" bIns="1651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 baseline="0">
                <a:solidFill>
                  <a:schemeClr val="accent1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5pPr>
            <a:lvl6pPr marL="54802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6pPr>
            <a:lvl7pPr marL="109604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7pPr>
            <a:lvl8pPr marL="1644064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8pPr>
            <a:lvl9pPr marL="2192086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rPr>
              <a:t>Basic</a:t>
            </a:r>
            <a:r>
              <a:rPr kumimoji="0" lang="en-US" sz="2600" b="1" i="0" u="none" strike="noStrike" kern="1200" cap="none" spc="0" normalizeH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rPr>
              <a:t> Safety Message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532633"/>
              </p:ext>
            </p:extLst>
          </p:nvPr>
        </p:nvGraphicFramePr>
        <p:xfrm>
          <a:off x="342900" y="1479840"/>
          <a:ext cx="5821376" cy="44308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39630">
                  <a:extLst>
                    <a:ext uri="{9D8B030D-6E8A-4147-A177-3AD203B41FA5}">
                      <a16:colId xmlns:a16="http://schemas.microsoft.com/office/drawing/2014/main" val="1892517294"/>
                    </a:ext>
                  </a:extLst>
                </a:gridCol>
                <a:gridCol w="2539829">
                  <a:extLst>
                    <a:ext uri="{9D8B030D-6E8A-4147-A177-3AD203B41FA5}">
                      <a16:colId xmlns:a16="http://schemas.microsoft.com/office/drawing/2014/main" val="1038425139"/>
                    </a:ext>
                  </a:extLst>
                </a:gridCol>
                <a:gridCol w="1741917">
                  <a:extLst>
                    <a:ext uri="{9D8B030D-6E8A-4147-A177-3AD203B41FA5}">
                      <a16:colId xmlns:a16="http://schemas.microsoft.com/office/drawing/2014/main" val="2156007815"/>
                    </a:ext>
                  </a:extLst>
                </a:gridCol>
              </a:tblGrid>
              <a:tr h="17581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ignal in OBU(parent signal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Signal in OBU(child signal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Signal in JSON(UDP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1835455940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host_fla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HostFla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361046767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i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I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2065850801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ime_stamp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2478629081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.latitud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Latitud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154767849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.longitud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Longitud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58213493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pos.elevation_op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867725788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.elev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Elev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257935268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acc_op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732677219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acc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acc.smajor_dev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emiMajorAxisAccurac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548764075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acc.sminor_dev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emiMinorAxisAccurac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464065974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acc.smajor_orie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emiMajorAxisOrient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2865207051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confidence_op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2315265450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confidenc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confidence.po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tionConfidenc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467602768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confidence.elevation_op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2454686688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pos_confidence.elev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ElevationConfidenc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070502549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rans_op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1411647916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ran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ransmissionStat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1466918612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pe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pe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07690362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head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Head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903485463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ngle_op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105911144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ngl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SteeringWheelAngl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604001662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ccel_se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ccel_set.acc_l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LongitudalAccele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1877425055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ccel_set.acc_lat_op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3140566648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ccel_set.acc_la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LateralAccele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2619884958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ccel_set.acc_vert_op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/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4048471323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ccel_set.acc_ver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VerticalAccele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1433284517"/>
                  </a:ext>
                </a:extLst>
              </a:tr>
              <a:tr h="157593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accel_set.yaw_rat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YawRat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75" marR="6475" marT="6475" marB="0" anchor="b"/>
                </a:tc>
                <a:extLst>
                  <a:ext uri="{0D108BD9-81ED-4DB2-BD59-A6C34878D82A}">
                    <a16:rowId xmlns:a16="http://schemas.microsoft.com/office/drawing/2014/main" val="2785271893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15617"/>
              </p:ext>
            </p:extLst>
          </p:nvPr>
        </p:nvGraphicFramePr>
        <p:xfrm>
          <a:off x="6279306" y="478373"/>
          <a:ext cx="5569794" cy="58705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73092">
                  <a:extLst>
                    <a:ext uri="{9D8B030D-6E8A-4147-A177-3AD203B41FA5}">
                      <a16:colId xmlns:a16="http://schemas.microsoft.com/office/drawing/2014/main" val="899276220"/>
                    </a:ext>
                  </a:extLst>
                </a:gridCol>
                <a:gridCol w="2430064">
                  <a:extLst>
                    <a:ext uri="{9D8B030D-6E8A-4147-A177-3AD203B41FA5}">
                      <a16:colId xmlns:a16="http://schemas.microsoft.com/office/drawing/2014/main" val="184046960"/>
                    </a:ext>
                  </a:extLst>
                </a:gridCol>
                <a:gridCol w="1666638">
                  <a:extLst>
                    <a:ext uri="{9D8B030D-6E8A-4147-A177-3AD203B41FA5}">
                      <a16:colId xmlns:a16="http://schemas.microsoft.com/office/drawing/2014/main" val="1710800254"/>
                    </a:ext>
                  </a:extLst>
                </a:gridCol>
              </a:tblGrid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brake_padel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4130542128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brake_padel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Padel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60373957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wheel_brakes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508088105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wheel_brak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WheelBrak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620010025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traction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70025355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tractio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ractio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417639005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abs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277722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a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49661980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brakes.scs_op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42881350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sc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C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438551670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brakes.brake_boost_op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14496694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brake_boos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Boos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789354170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aux_brakes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416496320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rakes.aux_brak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AuxBrake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702542606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veh_siz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size.widt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Widt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4091264833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size.lengt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Length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672069548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size.height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999702744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veh_size.heigh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Heigh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34582496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vehicle_classificati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icle_classification.classificatio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asicVehicleClas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409579505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icle_classification.fuel_type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938887063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icle_classification.fuel_ty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FuelTy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549839535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events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485435357"/>
                  </a:ext>
                </a:extLst>
              </a:tr>
              <a:tr h="14909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event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Event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01225146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lights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894814507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light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Ligh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789415021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his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1123208429"/>
                  </a:ext>
                </a:extLst>
              </a:tr>
              <a:tr h="201183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hi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his.coun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098684953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his.point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94010648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pre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064868892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p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pre.curve_radiu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/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56859754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path_pre.confidenc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344946144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veh_emergency_ext_op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29997366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emergency_ex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emergency_ext.response_type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333541996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emergency_ext.response_ty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ResponseTyp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863216155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emergency_ext.siren_use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/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63280531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emergency_ext.siren_us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SirenInUs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716074703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emergency_ext.lights_use_op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/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646348319"/>
                  </a:ext>
                </a:extLst>
              </a:tr>
              <a:tr h="153340"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veh_emergency_ext.lights_us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 err="1">
                          <a:effectLst/>
                        </a:rPr>
                        <a:t>LightbarInUs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76" marR="4776" marT="4776" marB="0" anchor="b"/>
                </a:tc>
                <a:extLst>
                  <a:ext uri="{0D108BD9-81ED-4DB2-BD59-A6C34878D82A}">
                    <a16:rowId xmlns:a16="http://schemas.microsoft.com/office/drawing/2014/main" val="2884761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406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4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7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 smtClean="0">
                <a:latin typeface="Porsche Next TT"/>
              </a:rPr>
              <a:t>OBU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47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653315" y="979553"/>
            <a:ext cx="4729018" cy="9130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3306438"/>
            <a:ext cx="1083852" cy="559293"/>
          </a:xfrm>
          <a:prstGeom prst="roundRect">
            <a:avLst/>
          </a:prstGeom>
          <a:solidFill>
            <a:srgbClr val="A5A5A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49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5364642"/>
            <a:ext cx="1083852" cy="559293"/>
          </a:xfrm>
          <a:prstGeom prst="roundRect">
            <a:avLst/>
          </a:prstGeom>
          <a:solidFill>
            <a:srgbClr val="A5A5A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0" name="矩形: 圆角 3">
            <a:extLst>
              <a:ext uri="{FF2B5EF4-FFF2-40B4-BE49-F238E27FC236}">
                <a16:creationId xmlns:a16="http://schemas.microsoft.com/office/drawing/2014/main" id="{D6648072-F71C-38FF-341B-818D406704D5}"/>
              </a:ext>
            </a:extLst>
          </p:cNvPr>
          <p:cNvSpPr/>
          <p:nvPr/>
        </p:nvSpPr>
        <p:spPr>
          <a:xfrm>
            <a:off x="1000375" y="868249"/>
            <a:ext cx="10397302" cy="131000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1" name="文本框 4">
            <a:extLst>
              <a:ext uri="{FF2B5EF4-FFF2-40B4-BE49-F238E27FC236}">
                <a16:creationId xmlns:a16="http://schemas.microsoft.com/office/drawing/2014/main" id="{14B70F7B-11EA-F988-3C81-C0D5DD65A355}"/>
              </a:ext>
            </a:extLst>
          </p:cNvPr>
          <p:cNvSpPr txBox="1"/>
          <p:nvPr/>
        </p:nvSpPr>
        <p:spPr>
          <a:xfrm>
            <a:off x="5676138" y="1879054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PevaTec Carla</a:t>
            </a:r>
          </a:p>
        </p:txBody>
      </p:sp>
      <p:sp>
        <p:nvSpPr>
          <p:cNvPr id="52" name="矩形: 圆角 5">
            <a:extLst>
              <a:ext uri="{FF2B5EF4-FFF2-40B4-BE49-F238E27FC236}">
                <a16:creationId xmlns:a16="http://schemas.microsoft.com/office/drawing/2014/main" id="{ADD79E82-E782-1141-0329-5D148F19180B}"/>
              </a:ext>
            </a:extLst>
          </p:cNvPr>
          <p:cNvSpPr/>
          <p:nvPr/>
        </p:nvSpPr>
        <p:spPr>
          <a:xfrm>
            <a:off x="1843672" y="1139568"/>
            <a:ext cx="1781403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H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Host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3" name="矩形: 圆角 6">
            <a:extLst>
              <a:ext uri="{FF2B5EF4-FFF2-40B4-BE49-F238E27FC236}">
                <a16:creationId xmlns:a16="http://schemas.microsoft.com/office/drawing/2014/main" id="{1C75A3FF-3375-765A-7BBC-247541D74999}"/>
              </a:ext>
            </a:extLst>
          </p:cNvPr>
          <p:cNvSpPr/>
          <p:nvPr/>
        </p:nvSpPr>
        <p:spPr>
          <a:xfrm>
            <a:off x="4385601" y="1139568"/>
            <a:ext cx="1781404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R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Remote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54" name="直接箭头连接符 8">
            <a:extLst>
              <a:ext uri="{FF2B5EF4-FFF2-40B4-BE49-F238E27FC236}">
                <a16:creationId xmlns:a16="http://schemas.microsoft.com/office/drawing/2014/main" id="{AC17084F-492A-BC85-B8CD-6CAC8D6956C1}"/>
              </a:ext>
            </a:extLst>
          </p:cNvPr>
          <p:cNvCxnSpPr/>
          <p:nvPr/>
        </p:nvCxnSpPr>
        <p:spPr>
          <a:xfrm>
            <a:off x="2199144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箭头连接符 9">
            <a:extLst>
              <a:ext uri="{FF2B5EF4-FFF2-40B4-BE49-F238E27FC236}">
                <a16:creationId xmlns:a16="http://schemas.microsoft.com/office/drawing/2014/main" id="{62AE2116-A874-F190-AA2C-C84616435C25}"/>
              </a:ext>
            </a:extLst>
          </p:cNvPr>
          <p:cNvCxnSpPr/>
          <p:nvPr/>
        </p:nvCxnSpPr>
        <p:spPr>
          <a:xfrm>
            <a:off x="5769447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文本框 79">
            <a:extLst>
              <a:ext uri="{FF2B5EF4-FFF2-40B4-BE49-F238E27FC236}">
                <a16:creationId xmlns:a16="http://schemas.microsoft.com/office/drawing/2014/main" id="{0569FEC1-B86F-32BA-7DFC-43E95CD0BFCB}"/>
              </a:ext>
            </a:extLst>
          </p:cNvPr>
          <p:cNvSpPr txBox="1"/>
          <p:nvPr/>
        </p:nvSpPr>
        <p:spPr>
          <a:xfrm>
            <a:off x="2608194" y="2494993"/>
            <a:ext cx="30657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Carla-ROS-Bridge / Carla API</a:t>
            </a:r>
            <a:endParaRPr lang="en-US" altLang="zh-CN" dirty="0"/>
          </a:p>
        </p:txBody>
      </p:sp>
      <p:sp>
        <p:nvSpPr>
          <p:cNvPr id="57" name="矩形 14">
            <a:extLst>
              <a:ext uri="{FF2B5EF4-FFF2-40B4-BE49-F238E27FC236}">
                <a16:creationId xmlns:a16="http://schemas.microsoft.com/office/drawing/2014/main" id="{1F8FF050-09CA-775A-00CF-AC402A0992BF}"/>
              </a:ext>
            </a:extLst>
          </p:cNvPr>
          <p:cNvSpPr/>
          <p:nvPr/>
        </p:nvSpPr>
        <p:spPr>
          <a:xfrm>
            <a:off x="1843672" y="2464520"/>
            <a:ext cx="4323333" cy="449719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000376" y="2339616"/>
            <a:ext cx="6077581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矩形: 圆角 16">
            <a:extLst>
              <a:ext uri="{FF2B5EF4-FFF2-40B4-BE49-F238E27FC236}">
                <a16:creationId xmlns:a16="http://schemas.microsoft.com/office/drawing/2014/main" id="{B9204781-C2CD-82C6-D959-716F5DCE8BB0}"/>
              </a:ext>
            </a:extLst>
          </p:cNvPr>
          <p:cNvSpPr/>
          <p:nvPr/>
        </p:nvSpPr>
        <p:spPr>
          <a:xfrm>
            <a:off x="1742507" y="3311954"/>
            <a:ext cx="448118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Jupiter </a:t>
            </a:r>
            <a:r>
              <a:rPr lang="en-US" altLang="zh-CN" dirty="0" smtClean="0">
                <a:solidFill>
                  <a:schemeClr val="tx1"/>
                </a:solidFill>
              </a:rPr>
              <a:t>Twins Node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矩形: 圆角 17">
            <a:extLst>
              <a:ext uri="{FF2B5EF4-FFF2-40B4-BE49-F238E27FC236}">
                <a16:creationId xmlns:a16="http://schemas.microsoft.com/office/drawing/2014/main" id="{99284322-0806-6CC9-9B63-BF844E7F54F0}"/>
              </a:ext>
            </a:extLst>
          </p:cNvPr>
          <p:cNvSpPr/>
          <p:nvPr/>
        </p:nvSpPr>
        <p:spPr>
          <a:xfrm>
            <a:off x="2008997" y="5381124"/>
            <a:ext cx="2699569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Safety Function Node</a:t>
            </a:r>
          </a:p>
        </p:txBody>
      </p:sp>
      <p:cxnSp>
        <p:nvCxnSpPr>
          <p:cNvPr id="61" name="直接箭头连接符 10">
            <a:extLst>
              <a:ext uri="{FF2B5EF4-FFF2-40B4-BE49-F238E27FC236}">
                <a16:creationId xmlns:a16="http://schemas.microsoft.com/office/drawing/2014/main" id="{3E539011-3626-5CAA-4A3C-59BECA876184}"/>
              </a:ext>
            </a:extLst>
          </p:cNvPr>
          <p:cNvCxnSpPr>
            <a:cxnSpLocks/>
          </p:cNvCxnSpPr>
          <p:nvPr/>
        </p:nvCxnSpPr>
        <p:spPr>
          <a:xfrm flipV="1">
            <a:off x="3198446" y="1680231"/>
            <a:ext cx="0" cy="37008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箭头连接符 22">
            <a:extLst>
              <a:ext uri="{FF2B5EF4-FFF2-40B4-BE49-F238E27FC236}">
                <a16:creationId xmlns:a16="http://schemas.microsoft.com/office/drawing/2014/main" id="{74D195F7-E52B-07C9-D07E-DD2B1D91453C}"/>
              </a:ext>
            </a:extLst>
          </p:cNvPr>
          <p:cNvCxnSpPr/>
          <p:nvPr/>
        </p:nvCxnSpPr>
        <p:spPr>
          <a:xfrm>
            <a:off x="2199144" y="3871247"/>
            <a:ext cx="0" cy="1509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1528347" y="4093888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HV_Msg</a:t>
            </a:r>
            <a:endParaRPr lang="zh-CN" altLang="en-US" dirty="0"/>
          </a:p>
        </p:txBody>
      </p:sp>
      <p:sp>
        <p:nvSpPr>
          <p:cNvPr id="64" name="文本框 24">
            <a:extLst>
              <a:ext uri="{FF2B5EF4-FFF2-40B4-BE49-F238E27FC236}">
                <a16:creationId xmlns:a16="http://schemas.microsoft.com/office/drawing/2014/main" id="{1D4B74F3-739F-704D-1E93-884107093928}"/>
              </a:ext>
            </a:extLst>
          </p:cNvPr>
          <p:cNvSpPr txBox="1"/>
          <p:nvPr/>
        </p:nvSpPr>
        <p:spPr>
          <a:xfrm rot="16200000">
            <a:off x="6067795" y="477229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V2X_Msg</a:t>
            </a:r>
            <a:endParaRPr lang="zh-CN" altLang="en-US" dirty="0"/>
          </a:p>
        </p:txBody>
      </p:sp>
      <p:sp>
        <p:nvSpPr>
          <p:cNvPr id="65" name="文本框 25">
            <a:extLst>
              <a:ext uri="{FF2B5EF4-FFF2-40B4-BE49-F238E27FC236}">
                <a16:creationId xmlns:a16="http://schemas.microsoft.com/office/drawing/2014/main" id="{DFB239A5-514E-6AF1-34E9-549EC832D90F}"/>
              </a:ext>
            </a:extLst>
          </p:cNvPr>
          <p:cNvSpPr txBox="1"/>
          <p:nvPr/>
        </p:nvSpPr>
        <p:spPr>
          <a:xfrm rot="16200000">
            <a:off x="6025157" y="3618859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RV_Msg</a:t>
            </a:r>
            <a:endParaRPr lang="zh-CN" altLang="en-US" dirty="0"/>
          </a:p>
        </p:txBody>
      </p:sp>
      <p:cxnSp>
        <p:nvCxnSpPr>
          <p:cNvPr id="66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5769447" y="3865731"/>
            <a:ext cx="0" cy="481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矩形: 圆角 34">
            <a:extLst>
              <a:ext uri="{FF2B5EF4-FFF2-40B4-BE49-F238E27FC236}">
                <a16:creationId xmlns:a16="http://schemas.microsoft.com/office/drawing/2014/main" id="{C3AE624C-25E1-38E0-93E4-341D4E72A568}"/>
              </a:ext>
            </a:extLst>
          </p:cNvPr>
          <p:cNvSpPr/>
          <p:nvPr/>
        </p:nvSpPr>
        <p:spPr>
          <a:xfrm>
            <a:off x="4722264" y="4354664"/>
            <a:ext cx="225113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ROS </a:t>
            </a:r>
            <a:r>
              <a:rPr lang="en-US" altLang="zh-CN" dirty="0" smtClean="0">
                <a:solidFill>
                  <a:schemeClr val="tx1"/>
                </a:solidFill>
              </a:rPr>
              <a:t>Driver Node</a:t>
            </a:r>
            <a:endParaRPr lang="en-US" altLang="zh-CN" dirty="0">
              <a:solidFill>
                <a:schemeClr val="tx1"/>
              </a:solidFill>
            </a:endParaRPr>
          </a:p>
        </p:txBody>
      </p:sp>
      <p:cxnSp>
        <p:nvCxnSpPr>
          <p:cNvPr id="68" name="直接箭头连接符 41">
            <a:extLst>
              <a:ext uri="{FF2B5EF4-FFF2-40B4-BE49-F238E27FC236}">
                <a16:creationId xmlns:a16="http://schemas.microsoft.com/office/drawing/2014/main" id="{0CD69044-95AD-2A80-7D88-B41422C825F3}"/>
              </a:ext>
            </a:extLst>
          </p:cNvPr>
          <p:cNvCxnSpPr>
            <a:stCxn id="48" idx="2"/>
            <a:endCxn id="49" idx="0"/>
          </p:cNvCxnSpPr>
          <p:nvPr/>
        </p:nvCxnSpPr>
        <p:spPr>
          <a:xfrm>
            <a:off x="10376925" y="3865731"/>
            <a:ext cx="0" cy="1498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连接符: 肘形 58">
            <a:extLst>
              <a:ext uri="{FF2B5EF4-FFF2-40B4-BE49-F238E27FC236}">
                <a16:creationId xmlns:a16="http://schemas.microsoft.com/office/drawing/2014/main" id="{9B54D8A8-FB70-D7F0-BA35-27A59AD5BD04}"/>
              </a:ext>
            </a:extLst>
          </p:cNvPr>
          <p:cNvCxnSpPr>
            <a:endCxn id="60" idx="3"/>
          </p:cNvCxnSpPr>
          <p:nvPr/>
        </p:nvCxnSpPr>
        <p:spPr>
          <a:xfrm rot="10800000" flipV="1">
            <a:off x="4708566" y="4915933"/>
            <a:ext cx="1093414" cy="744837"/>
          </a:xfrm>
          <a:prstGeom prst="bentConnector3">
            <a:avLst>
              <a:gd name="adj1" fmla="val 354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连接符: 肘形 60">
            <a:extLst>
              <a:ext uri="{FF2B5EF4-FFF2-40B4-BE49-F238E27FC236}">
                <a16:creationId xmlns:a16="http://schemas.microsoft.com/office/drawing/2014/main" id="{F2C7414F-F734-CEB5-1BC7-656AF04A8A70}"/>
              </a:ext>
            </a:extLst>
          </p:cNvPr>
          <p:cNvCxnSpPr>
            <a:cxnSpLocks/>
            <a:endCxn id="48" idx="1"/>
          </p:cNvCxnSpPr>
          <p:nvPr/>
        </p:nvCxnSpPr>
        <p:spPr>
          <a:xfrm flipV="1">
            <a:off x="6920933" y="3586085"/>
            <a:ext cx="2914066" cy="773303"/>
          </a:xfrm>
          <a:prstGeom prst="bentConnector3">
            <a:avLst>
              <a:gd name="adj1" fmla="val 23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连接符: 肘形 64">
            <a:extLst>
              <a:ext uri="{FF2B5EF4-FFF2-40B4-BE49-F238E27FC236}">
                <a16:creationId xmlns:a16="http://schemas.microsoft.com/office/drawing/2014/main" id="{B953843F-79E4-8845-88AA-2ACC9ABD8861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>
            <a:off x="6920933" y="4909235"/>
            <a:ext cx="2914067" cy="735055"/>
          </a:xfrm>
          <a:prstGeom prst="bentConnector3">
            <a:avLst>
              <a:gd name="adj1" fmla="val 9976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10688019" y="3962873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BSM_Msg</a:t>
            </a:r>
            <a:endParaRPr lang="zh-CN" altLang="en-US" dirty="0"/>
          </a:p>
        </p:txBody>
      </p:sp>
      <p:sp>
        <p:nvSpPr>
          <p:cNvPr id="73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3607509" y="6023292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ROS Environment</a:t>
            </a:r>
            <a:endParaRPr lang="en-US" altLang="zh-CN" dirty="0"/>
          </a:p>
        </p:txBody>
      </p:sp>
      <p:sp>
        <p:nvSpPr>
          <p:cNvPr id="74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7787357" y="4354664"/>
            <a:ext cx="212124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Signal Generator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75" name="Straight Arrow Connector 74"/>
          <p:cNvCxnSpPr>
            <a:stCxn id="74" idx="1"/>
            <a:endCxn id="67" idx="3"/>
          </p:cNvCxnSpPr>
          <p:nvPr/>
        </p:nvCxnSpPr>
        <p:spPr>
          <a:xfrm flipH="1">
            <a:off x="6973397" y="4634311"/>
            <a:ext cx="813960" cy="0"/>
          </a:xfrm>
          <a:prstGeom prst="straightConnector1">
            <a:avLst/>
          </a:prstGeom>
          <a:ln>
            <a:prstDash val="dash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105546" y="1156429"/>
            <a:ext cx="1458905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Carla Server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77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3936168" y="1196428"/>
            <a:ext cx="461665" cy="11506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Scenario</a:t>
            </a:r>
            <a:endParaRPr lang="zh-CN" altLang="en-US" dirty="0"/>
          </a:p>
        </p:txBody>
      </p:sp>
      <p:cxnSp>
        <p:nvCxnSpPr>
          <p:cNvPr id="78" name="Straight Arrow Connector 77"/>
          <p:cNvCxnSpPr>
            <a:stCxn id="47" idx="3"/>
            <a:endCxn id="76" idx="1"/>
          </p:cNvCxnSpPr>
          <p:nvPr/>
        </p:nvCxnSpPr>
        <p:spPr>
          <a:xfrm>
            <a:off x="6382333" y="1436076"/>
            <a:ext cx="27232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7821130" y="106334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TCP/IP</a:t>
            </a:r>
            <a:endParaRPr lang="zh-CN" altLang="en-US" dirty="0"/>
          </a:p>
        </p:txBody>
      </p:sp>
      <p:sp>
        <p:nvSpPr>
          <p:cNvPr id="80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7085322" y="2339616"/>
            <a:ext cx="4312355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8807632" y="6010817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V2X Syste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39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5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342900" y="552450"/>
            <a:ext cx="11506200" cy="431800"/>
          </a:xfrm>
          <a:prstGeom prst="rect">
            <a:avLst/>
          </a:prstGeom>
        </p:spPr>
        <p:txBody>
          <a:bodyPr lIns="0" tIns="1651" rIns="0" bIns="1651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 baseline="0">
                <a:solidFill>
                  <a:schemeClr val="accent1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5pPr>
            <a:lvl6pPr marL="54802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6pPr>
            <a:lvl7pPr marL="109604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7pPr>
            <a:lvl8pPr marL="1644064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8pPr>
            <a:lvl9pPr marL="2192086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rPr>
              <a:t>OBU App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pic>
        <p:nvPicPr>
          <p:cNvPr id="10" name="图片 2">
            <a:extLst>
              <a:ext uri="{FF2B5EF4-FFF2-40B4-BE49-F238E27FC236}">
                <a16:creationId xmlns:a16="http://schemas.microsoft.com/office/drawing/2014/main" id="{0CF0E452-F548-408E-CAC0-34CFEDE070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914767"/>
            <a:ext cx="5554211" cy="3252466"/>
          </a:xfrm>
          <a:prstGeom prst="rect">
            <a:avLst/>
          </a:prstGeom>
        </p:spPr>
      </p:pic>
      <p:sp>
        <p:nvSpPr>
          <p:cNvPr id="15" name="矩形: 圆角 165">
            <a:extLst>
              <a:ext uri="{FF2B5EF4-FFF2-40B4-BE49-F238E27FC236}">
                <a16:creationId xmlns:a16="http://schemas.microsoft.com/office/drawing/2014/main" id="{997BFA9D-B621-F7A8-24B5-FA74868F1D49}"/>
              </a:ext>
            </a:extLst>
          </p:cNvPr>
          <p:cNvSpPr/>
          <p:nvPr/>
        </p:nvSpPr>
        <p:spPr>
          <a:xfrm>
            <a:off x="6121878" y="562149"/>
            <a:ext cx="5727222" cy="18985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7636988" y="2101082"/>
            <a:ext cx="28337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OBU-116 (Remote OBU)</a:t>
            </a:r>
            <a:endParaRPr lang="en-US" altLang="zh-CN" dirty="0"/>
          </a:p>
        </p:txBody>
      </p:sp>
      <p:sp>
        <p:nvSpPr>
          <p:cNvPr id="17" name="矩形: 圆角 165">
            <a:extLst>
              <a:ext uri="{FF2B5EF4-FFF2-40B4-BE49-F238E27FC236}">
                <a16:creationId xmlns:a16="http://schemas.microsoft.com/office/drawing/2014/main" id="{997BFA9D-B621-F7A8-24B5-FA74868F1D49}"/>
              </a:ext>
            </a:extLst>
          </p:cNvPr>
          <p:cNvSpPr/>
          <p:nvPr/>
        </p:nvSpPr>
        <p:spPr>
          <a:xfrm>
            <a:off x="6121878" y="4279785"/>
            <a:ext cx="5727222" cy="18985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7755709" y="5822935"/>
            <a:ext cx="213050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OBU-115 (Host OBU)</a:t>
            </a:r>
            <a:endParaRPr lang="en-US" altLang="zh-CN" dirty="0"/>
          </a:p>
        </p:txBody>
      </p:sp>
      <p:sp>
        <p:nvSpPr>
          <p:cNvPr id="19" name="Rectangle 18"/>
          <p:cNvSpPr/>
          <p:nvPr/>
        </p:nvSpPr>
        <p:spPr>
          <a:xfrm>
            <a:off x="6506994" y="983266"/>
            <a:ext cx="1962583" cy="3971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SON Msg Receiver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485214" y="4571593"/>
            <a:ext cx="1907165" cy="3971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JSON Msg Sende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050002" y="4571593"/>
            <a:ext cx="2673160" cy="397164"/>
          </a:xfrm>
          <a:prstGeom prst="rect">
            <a:avLst/>
          </a:prstGeom>
          <a:solidFill>
            <a:srgbClr val="F4B18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ireless M</a:t>
            </a:r>
            <a:r>
              <a:rPr lang="en-US" altLang="zh-CN" dirty="0"/>
              <a:t>essage Handler</a:t>
            </a:r>
            <a:endParaRPr lang="en-US" dirty="0"/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AA2429D7-CFCB-21FE-1315-8848F701ABF1}"/>
              </a:ext>
            </a:extLst>
          </p:cNvPr>
          <p:cNvSpPr/>
          <p:nvPr/>
        </p:nvSpPr>
        <p:spPr>
          <a:xfrm>
            <a:off x="9050002" y="983266"/>
            <a:ext cx="2673160" cy="397164"/>
          </a:xfrm>
          <a:prstGeom prst="rect">
            <a:avLst/>
          </a:prstGeom>
          <a:solidFill>
            <a:srgbClr val="F4B18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ireless M</a:t>
            </a:r>
            <a:r>
              <a:rPr lang="en-US" altLang="zh-CN" dirty="0"/>
              <a:t>essage Handler</a:t>
            </a:r>
            <a:endParaRPr lang="en-US" dirty="0"/>
          </a:p>
        </p:txBody>
      </p:sp>
      <p:sp>
        <p:nvSpPr>
          <p:cNvPr id="23" name="文本框 79">
            <a:extLst>
              <a:ext uri="{FF2B5EF4-FFF2-40B4-BE49-F238E27FC236}">
                <a16:creationId xmlns:a16="http://schemas.microsoft.com/office/drawing/2014/main" id="{7B142E09-C196-0521-C01D-950C5AC6DE6C}"/>
              </a:ext>
            </a:extLst>
          </p:cNvPr>
          <p:cNvSpPr txBox="1"/>
          <p:nvPr/>
        </p:nvSpPr>
        <p:spPr>
          <a:xfrm>
            <a:off x="10544234" y="3171668"/>
            <a:ext cx="6501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PC5</a:t>
            </a:r>
          </a:p>
        </p:txBody>
      </p:sp>
      <p:sp>
        <p:nvSpPr>
          <p:cNvPr id="24" name="Rectangle 5">
            <a:extLst>
              <a:ext uri="{FF2B5EF4-FFF2-40B4-BE49-F238E27FC236}">
                <a16:creationId xmlns:a16="http://schemas.microsoft.com/office/drawing/2014/main" id="{32B593F5-0C2F-56F8-DD2D-2678127255B8}"/>
              </a:ext>
            </a:extLst>
          </p:cNvPr>
          <p:cNvSpPr/>
          <p:nvPr/>
        </p:nvSpPr>
        <p:spPr>
          <a:xfrm>
            <a:off x="7755709" y="1602965"/>
            <a:ext cx="1962583" cy="3971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pplication</a:t>
            </a:r>
            <a:endParaRPr lang="en-US" dirty="0"/>
          </a:p>
        </p:txBody>
      </p:sp>
      <p:sp>
        <p:nvSpPr>
          <p:cNvPr id="25" name="Rectangle 5">
            <a:extLst>
              <a:ext uri="{FF2B5EF4-FFF2-40B4-BE49-F238E27FC236}">
                <a16:creationId xmlns:a16="http://schemas.microsoft.com/office/drawing/2014/main" id="{533A45F7-04A6-F160-D905-9E53A8C41957}"/>
              </a:ext>
            </a:extLst>
          </p:cNvPr>
          <p:cNvSpPr/>
          <p:nvPr/>
        </p:nvSpPr>
        <p:spPr>
          <a:xfrm>
            <a:off x="7800613" y="5260565"/>
            <a:ext cx="1962583" cy="3971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Application</a:t>
            </a:r>
            <a:endParaRPr lang="en-US" dirty="0"/>
          </a:p>
        </p:txBody>
      </p:sp>
      <p:cxnSp>
        <p:nvCxnSpPr>
          <p:cNvPr id="26" name="Straight Arrow Connector 21">
            <a:extLst>
              <a:ext uri="{FF2B5EF4-FFF2-40B4-BE49-F238E27FC236}">
                <a16:creationId xmlns:a16="http://schemas.microsoft.com/office/drawing/2014/main" id="{49EAE7C4-D10D-3870-EE5F-F7A34EA8C590}"/>
              </a:ext>
            </a:extLst>
          </p:cNvPr>
          <p:cNvCxnSpPr>
            <a:cxnSpLocks/>
            <a:stCxn id="19" idx="2"/>
          </p:cNvCxnSpPr>
          <p:nvPr/>
        </p:nvCxnSpPr>
        <p:spPr>
          <a:xfrm>
            <a:off x="7488286" y="1380430"/>
            <a:ext cx="267423" cy="2377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1">
            <a:extLst>
              <a:ext uri="{FF2B5EF4-FFF2-40B4-BE49-F238E27FC236}">
                <a16:creationId xmlns:a16="http://schemas.microsoft.com/office/drawing/2014/main" id="{A7C810F9-D15F-23E9-38DD-13ED3E5160A9}"/>
              </a:ext>
            </a:extLst>
          </p:cNvPr>
          <p:cNvCxnSpPr>
            <a:cxnSpLocks/>
            <a:endCxn id="20" idx="2"/>
          </p:cNvCxnSpPr>
          <p:nvPr/>
        </p:nvCxnSpPr>
        <p:spPr>
          <a:xfrm flipH="1" flipV="1">
            <a:off x="7438797" y="4968757"/>
            <a:ext cx="361816" cy="2918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1">
            <a:extLst>
              <a:ext uri="{FF2B5EF4-FFF2-40B4-BE49-F238E27FC236}">
                <a16:creationId xmlns:a16="http://schemas.microsoft.com/office/drawing/2014/main" id="{6EC9EFAB-4318-6CFA-7BE7-2134252EE8ED}"/>
              </a:ext>
            </a:extLst>
          </p:cNvPr>
          <p:cNvCxnSpPr>
            <a:cxnSpLocks/>
            <a:endCxn id="22" idx="2"/>
          </p:cNvCxnSpPr>
          <p:nvPr/>
        </p:nvCxnSpPr>
        <p:spPr>
          <a:xfrm flipV="1">
            <a:off x="9718292" y="1380430"/>
            <a:ext cx="668290" cy="2377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1">
            <a:extLst>
              <a:ext uri="{FF2B5EF4-FFF2-40B4-BE49-F238E27FC236}">
                <a16:creationId xmlns:a16="http://schemas.microsoft.com/office/drawing/2014/main" id="{19D311AD-8E6E-ACA5-03CD-B7C10A7305F2}"/>
              </a:ext>
            </a:extLst>
          </p:cNvPr>
          <p:cNvCxnSpPr>
            <a:cxnSpLocks/>
            <a:stCxn id="21" idx="2"/>
          </p:cNvCxnSpPr>
          <p:nvPr/>
        </p:nvCxnSpPr>
        <p:spPr>
          <a:xfrm flipH="1">
            <a:off x="9718292" y="4968757"/>
            <a:ext cx="668290" cy="2918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10539723" y="2460715"/>
            <a:ext cx="0" cy="181907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文本框 79">
            <a:extLst>
              <a:ext uri="{FF2B5EF4-FFF2-40B4-BE49-F238E27FC236}">
                <a16:creationId xmlns:a16="http://schemas.microsoft.com/office/drawing/2014/main" id="{B3FFA5EF-4E0B-91D2-59FE-BE63A6947FBD}"/>
              </a:ext>
            </a:extLst>
          </p:cNvPr>
          <p:cNvSpPr txBox="1"/>
          <p:nvPr/>
        </p:nvSpPr>
        <p:spPr>
          <a:xfrm>
            <a:off x="11194411" y="3171668"/>
            <a:ext cx="8651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>
                <a:hlinkClick r:id="rId5" action="ppaction://hlinkfile"/>
              </a:rPr>
              <a:t>Test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793300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6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7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>
                <a:latin typeface="Porsche Next TT"/>
              </a:rPr>
              <a:t>V2X Safety Function 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47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653315" y="979553"/>
            <a:ext cx="4729018" cy="9130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3306438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49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5364642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0" name="矩形: 圆角 3">
            <a:extLst>
              <a:ext uri="{FF2B5EF4-FFF2-40B4-BE49-F238E27FC236}">
                <a16:creationId xmlns:a16="http://schemas.microsoft.com/office/drawing/2014/main" id="{D6648072-F71C-38FF-341B-818D406704D5}"/>
              </a:ext>
            </a:extLst>
          </p:cNvPr>
          <p:cNvSpPr/>
          <p:nvPr/>
        </p:nvSpPr>
        <p:spPr>
          <a:xfrm>
            <a:off x="1000375" y="868249"/>
            <a:ext cx="10397302" cy="131000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1" name="文本框 4">
            <a:extLst>
              <a:ext uri="{FF2B5EF4-FFF2-40B4-BE49-F238E27FC236}">
                <a16:creationId xmlns:a16="http://schemas.microsoft.com/office/drawing/2014/main" id="{14B70F7B-11EA-F988-3C81-C0D5DD65A355}"/>
              </a:ext>
            </a:extLst>
          </p:cNvPr>
          <p:cNvSpPr txBox="1"/>
          <p:nvPr/>
        </p:nvSpPr>
        <p:spPr>
          <a:xfrm>
            <a:off x="5676138" y="1879054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PevaTec Carla</a:t>
            </a:r>
          </a:p>
        </p:txBody>
      </p:sp>
      <p:sp>
        <p:nvSpPr>
          <p:cNvPr id="52" name="矩形: 圆角 5">
            <a:extLst>
              <a:ext uri="{FF2B5EF4-FFF2-40B4-BE49-F238E27FC236}">
                <a16:creationId xmlns:a16="http://schemas.microsoft.com/office/drawing/2014/main" id="{ADD79E82-E782-1141-0329-5D148F19180B}"/>
              </a:ext>
            </a:extLst>
          </p:cNvPr>
          <p:cNvSpPr/>
          <p:nvPr/>
        </p:nvSpPr>
        <p:spPr>
          <a:xfrm>
            <a:off x="1843672" y="1139568"/>
            <a:ext cx="1781403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H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Host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3" name="矩形: 圆角 6">
            <a:extLst>
              <a:ext uri="{FF2B5EF4-FFF2-40B4-BE49-F238E27FC236}">
                <a16:creationId xmlns:a16="http://schemas.microsoft.com/office/drawing/2014/main" id="{1C75A3FF-3375-765A-7BBC-247541D74999}"/>
              </a:ext>
            </a:extLst>
          </p:cNvPr>
          <p:cNvSpPr/>
          <p:nvPr/>
        </p:nvSpPr>
        <p:spPr>
          <a:xfrm>
            <a:off x="4385601" y="1139568"/>
            <a:ext cx="1781404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R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Remote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54" name="直接箭头连接符 8">
            <a:extLst>
              <a:ext uri="{FF2B5EF4-FFF2-40B4-BE49-F238E27FC236}">
                <a16:creationId xmlns:a16="http://schemas.microsoft.com/office/drawing/2014/main" id="{AC17084F-492A-BC85-B8CD-6CAC8D6956C1}"/>
              </a:ext>
            </a:extLst>
          </p:cNvPr>
          <p:cNvCxnSpPr/>
          <p:nvPr/>
        </p:nvCxnSpPr>
        <p:spPr>
          <a:xfrm>
            <a:off x="2199144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箭头连接符 9">
            <a:extLst>
              <a:ext uri="{FF2B5EF4-FFF2-40B4-BE49-F238E27FC236}">
                <a16:creationId xmlns:a16="http://schemas.microsoft.com/office/drawing/2014/main" id="{62AE2116-A874-F190-AA2C-C84616435C25}"/>
              </a:ext>
            </a:extLst>
          </p:cNvPr>
          <p:cNvCxnSpPr/>
          <p:nvPr/>
        </p:nvCxnSpPr>
        <p:spPr>
          <a:xfrm>
            <a:off x="5769447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文本框 79">
            <a:extLst>
              <a:ext uri="{FF2B5EF4-FFF2-40B4-BE49-F238E27FC236}">
                <a16:creationId xmlns:a16="http://schemas.microsoft.com/office/drawing/2014/main" id="{0569FEC1-B86F-32BA-7DFC-43E95CD0BFCB}"/>
              </a:ext>
            </a:extLst>
          </p:cNvPr>
          <p:cNvSpPr txBox="1"/>
          <p:nvPr/>
        </p:nvSpPr>
        <p:spPr>
          <a:xfrm>
            <a:off x="2608194" y="2494993"/>
            <a:ext cx="30657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Carla-ROS-Bridge / Carla API</a:t>
            </a:r>
            <a:endParaRPr lang="en-US" altLang="zh-CN" dirty="0"/>
          </a:p>
        </p:txBody>
      </p:sp>
      <p:sp>
        <p:nvSpPr>
          <p:cNvPr id="57" name="矩形 14">
            <a:extLst>
              <a:ext uri="{FF2B5EF4-FFF2-40B4-BE49-F238E27FC236}">
                <a16:creationId xmlns:a16="http://schemas.microsoft.com/office/drawing/2014/main" id="{1F8FF050-09CA-775A-00CF-AC402A0992BF}"/>
              </a:ext>
            </a:extLst>
          </p:cNvPr>
          <p:cNvSpPr/>
          <p:nvPr/>
        </p:nvSpPr>
        <p:spPr>
          <a:xfrm>
            <a:off x="1843672" y="2464520"/>
            <a:ext cx="4323333" cy="449719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000376" y="2339616"/>
            <a:ext cx="6077581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矩形: 圆角 16">
            <a:extLst>
              <a:ext uri="{FF2B5EF4-FFF2-40B4-BE49-F238E27FC236}">
                <a16:creationId xmlns:a16="http://schemas.microsoft.com/office/drawing/2014/main" id="{B9204781-C2CD-82C6-D959-716F5DCE8BB0}"/>
              </a:ext>
            </a:extLst>
          </p:cNvPr>
          <p:cNvSpPr/>
          <p:nvPr/>
        </p:nvSpPr>
        <p:spPr>
          <a:xfrm>
            <a:off x="1742507" y="3311954"/>
            <a:ext cx="448118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Jupiter </a:t>
            </a:r>
            <a:r>
              <a:rPr lang="en-US" altLang="zh-CN" dirty="0" smtClean="0">
                <a:solidFill>
                  <a:schemeClr val="tx1"/>
                </a:solidFill>
              </a:rPr>
              <a:t>Twins Node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矩形: 圆角 17">
            <a:extLst>
              <a:ext uri="{FF2B5EF4-FFF2-40B4-BE49-F238E27FC236}">
                <a16:creationId xmlns:a16="http://schemas.microsoft.com/office/drawing/2014/main" id="{99284322-0806-6CC9-9B63-BF844E7F54F0}"/>
              </a:ext>
            </a:extLst>
          </p:cNvPr>
          <p:cNvSpPr/>
          <p:nvPr/>
        </p:nvSpPr>
        <p:spPr>
          <a:xfrm>
            <a:off x="2008997" y="5381124"/>
            <a:ext cx="2699569" cy="559293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Safety Function Node</a:t>
            </a:r>
          </a:p>
        </p:txBody>
      </p:sp>
      <p:cxnSp>
        <p:nvCxnSpPr>
          <p:cNvPr id="61" name="直接箭头连接符 10">
            <a:extLst>
              <a:ext uri="{FF2B5EF4-FFF2-40B4-BE49-F238E27FC236}">
                <a16:creationId xmlns:a16="http://schemas.microsoft.com/office/drawing/2014/main" id="{3E539011-3626-5CAA-4A3C-59BECA876184}"/>
              </a:ext>
            </a:extLst>
          </p:cNvPr>
          <p:cNvCxnSpPr>
            <a:cxnSpLocks/>
          </p:cNvCxnSpPr>
          <p:nvPr/>
        </p:nvCxnSpPr>
        <p:spPr>
          <a:xfrm flipV="1">
            <a:off x="3198446" y="1680231"/>
            <a:ext cx="0" cy="37008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箭头连接符 22">
            <a:extLst>
              <a:ext uri="{FF2B5EF4-FFF2-40B4-BE49-F238E27FC236}">
                <a16:creationId xmlns:a16="http://schemas.microsoft.com/office/drawing/2014/main" id="{74D195F7-E52B-07C9-D07E-DD2B1D91453C}"/>
              </a:ext>
            </a:extLst>
          </p:cNvPr>
          <p:cNvCxnSpPr/>
          <p:nvPr/>
        </p:nvCxnSpPr>
        <p:spPr>
          <a:xfrm>
            <a:off x="2199144" y="3871247"/>
            <a:ext cx="0" cy="1509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1528347" y="4093888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HV_Msg</a:t>
            </a:r>
            <a:endParaRPr lang="zh-CN" altLang="en-US" dirty="0"/>
          </a:p>
        </p:txBody>
      </p:sp>
      <p:sp>
        <p:nvSpPr>
          <p:cNvPr id="64" name="文本框 24">
            <a:extLst>
              <a:ext uri="{FF2B5EF4-FFF2-40B4-BE49-F238E27FC236}">
                <a16:creationId xmlns:a16="http://schemas.microsoft.com/office/drawing/2014/main" id="{1D4B74F3-739F-704D-1E93-884107093928}"/>
              </a:ext>
            </a:extLst>
          </p:cNvPr>
          <p:cNvSpPr txBox="1"/>
          <p:nvPr/>
        </p:nvSpPr>
        <p:spPr>
          <a:xfrm rot="16200000">
            <a:off x="6067795" y="477229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V2X_Msg</a:t>
            </a:r>
            <a:endParaRPr lang="zh-CN" altLang="en-US" dirty="0"/>
          </a:p>
        </p:txBody>
      </p:sp>
      <p:sp>
        <p:nvSpPr>
          <p:cNvPr id="65" name="文本框 25">
            <a:extLst>
              <a:ext uri="{FF2B5EF4-FFF2-40B4-BE49-F238E27FC236}">
                <a16:creationId xmlns:a16="http://schemas.microsoft.com/office/drawing/2014/main" id="{DFB239A5-514E-6AF1-34E9-549EC832D90F}"/>
              </a:ext>
            </a:extLst>
          </p:cNvPr>
          <p:cNvSpPr txBox="1"/>
          <p:nvPr/>
        </p:nvSpPr>
        <p:spPr>
          <a:xfrm rot="16200000">
            <a:off x="6025157" y="3618859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RV_Msg</a:t>
            </a:r>
            <a:endParaRPr lang="zh-CN" altLang="en-US" dirty="0"/>
          </a:p>
        </p:txBody>
      </p:sp>
      <p:cxnSp>
        <p:nvCxnSpPr>
          <p:cNvPr id="66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5769447" y="3865731"/>
            <a:ext cx="0" cy="481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矩形: 圆角 34">
            <a:extLst>
              <a:ext uri="{FF2B5EF4-FFF2-40B4-BE49-F238E27FC236}">
                <a16:creationId xmlns:a16="http://schemas.microsoft.com/office/drawing/2014/main" id="{C3AE624C-25E1-38E0-93E4-341D4E72A568}"/>
              </a:ext>
            </a:extLst>
          </p:cNvPr>
          <p:cNvSpPr/>
          <p:nvPr/>
        </p:nvSpPr>
        <p:spPr>
          <a:xfrm>
            <a:off x="4722264" y="4354664"/>
            <a:ext cx="225113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ROS </a:t>
            </a:r>
            <a:r>
              <a:rPr lang="en-US" altLang="zh-CN" dirty="0" smtClean="0">
                <a:solidFill>
                  <a:schemeClr val="tx1"/>
                </a:solidFill>
              </a:rPr>
              <a:t>Driver Node</a:t>
            </a:r>
            <a:endParaRPr lang="en-US" altLang="zh-CN" dirty="0">
              <a:solidFill>
                <a:schemeClr val="tx1"/>
              </a:solidFill>
            </a:endParaRPr>
          </a:p>
        </p:txBody>
      </p:sp>
      <p:cxnSp>
        <p:nvCxnSpPr>
          <p:cNvPr id="68" name="直接箭头连接符 41">
            <a:extLst>
              <a:ext uri="{FF2B5EF4-FFF2-40B4-BE49-F238E27FC236}">
                <a16:creationId xmlns:a16="http://schemas.microsoft.com/office/drawing/2014/main" id="{0CD69044-95AD-2A80-7D88-B41422C825F3}"/>
              </a:ext>
            </a:extLst>
          </p:cNvPr>
          <p:cNvCxnSpPr>
            <a:stCxn id="48" idx="2"/>
            <a:endCxn id="49" idx="0"/>
          </p:cNvCxnSpPr>
          <p:nvPr/>
        </p:nvCxnSpPr>
        <p:spPr>
          <a:xfrm>
            <a:off x="10376925" y="3865731"/>
            <a:ext cx="0" cy="1498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连接符: 肘形 58">
            <a:extLst>
              <a:ext uri="{FF2B5EF4-FFF2-40B4-BE49-F238E27FC236}">
                <a16:creationId xmlns:a16="http://schemas.microsoft.com/office/drawing/2014/main" id="{9B54D8A8-FB70-D7F0-BA35-27A59AD5BD04}"/>
              </a:ext>
            </a:extLst>
          </p:cNvPr>
          <p:cNvCxnSpPr>
            <a:endCxn id="60" idx="3"/>
          </p:cNvCxnSpPr>
          <p:nvPr/>
        </p:nvCxnSpPr>
        <p:spPr>
          <a:xfrm rot="10800000" flipV="1">
            <a:off x="4708566" y="4915933"/>
            <a:ext cx="1093414" cy="744837"/>
          </a:xfrm>
          <a:prstGeom prst="bentConnector3">
            <a:avLst>
              <a:gd name="adj1" fmla="val 354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连接符: 肘形 60">
            <a:extLst>
              <a:ext uri="{FF2B5EF4-FFF2-40B4-BE49-F238E27FC236}">
                <a16:creationId xmlns:a16="http://schemas.microsoft.com/office/drawing/2014/main" id="{F2C7414F-F734-CEB5-1BC7-656AF04A8A70}"/>
              </a:ext>
            </a:extLst>
          </p:cNvPr>
          <p:cNvCxnSpPr>
            <a:cxnSpLocks/>
            <a:endCxn id="48" idx="1"/>
          </p:cNvCxnSpPr>
          <p:nvPr/>
        </p:nvCxnSpPr>
        <p:spPr>
          <a:xfrm flipV="1">
            <a:off x="6920933" y="3586085"/>
            <a:ext cx="2914066" cy="773303"/>
          </a:xfrm>
          <a:prstGeom prst="bentConnector3">
            <a:avLst>
              <a:gd name="adj1" fmla="val 23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连接符: 肘形 64">
            <a:extLst>
              <a:ext uri="{FF2B5EF4-FFF2-40B4-BE49-F238E27FC236}">
                <a16:creationId xmlns:a16="http://schemas.microsoft.com/office/drawing/2014/main" id="{B953843F-79E4-8845-88AA-2ACC9ABD8861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>
            <a:off x="6920933" y="4909235"/>
            <a:ext cx="2914067" cy="735055"/>
          </a:xfrm>
          <a:prstGeom prst="bentConnector3">
            <a:avLst>
              <a:gd name="adj1" fmla="val 9976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10688019" y="3962873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BSM_Msg</a:t>
            </a:r>
            <a:endParaRPr lang="zh-CN" altLang="en-US" dirty="0"/>
          </a:p>
        </p:txBody>
      </p:sp>
      <p:sp>
        <p:nvSpPr>
          <p:cNvPr id="73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3607509" y="6023292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ROS Environment</a:t>
            </a:r>
            <a:endParaRPr lang="en-US" altLang="zh-CN" dirty="0"/>
          </a:p>
        </p:txBody>
      </p:sp>
      <p:sp>
        <p:nvSpPr>
          <p:cNvPr id="74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7787357" y="4354664"/>
            <a:ext cx="212124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Signal Generator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75" name="Straight Arrow Connector 74"/>
          <p:cNvCxnSpPr>
            <a:stCxn id="74" idx="1"/>
            <a:endCxn id="67" idx="3"/>
          </p:cNvCxnSpPr>
          <p:nvPr/>
        </p:nvCxnSpPr>
        <p:spPr>
          <a:xfrm flipH="1">
            <a:off x="6973397" y="4634311"/>
            <a:ext cx="813960" cy="0"/>
          </a:xfrm>
          <a:prstGeom prst="straightConnector1">
            <a:avLst/>
          </a:prstGeom>
          <a:ln>
            <a:prstDash val="dash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105546" y="1156429"/>
            <a:ext cx="1458905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Carla Server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77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3936168" y="1196428"/>
            <a:ext cx="461665" cy="11506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Scenario</a:t>
            </a:r>
            <a:endParaRPr lang="zh-CN" altLang="en-US" dirty="0"/>
          </a:p>
        </p:txBody>
      </p:sp>
      <p:cxnSp>
        <p:nvCxnSpPr>
          <p:cNvPr id="78" name="Straight Arrow Connector 77"/>
          <p:cNvCxnSpPr>
            <a:stCxn id="47" idx="3"/>
            <a:endCxn id="76" idx="1"/>
          </p:cNvCxnSpPr>
          <p:nvPr/>
        </p:nvCxnSpPr>
        <p:spPr>
          <a:xfrm>
            <a:off x="6382333" y="1436076"/>
            <a:ext cx="27232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7821130" y="106334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TCP/IP</a:t>
            </a:r>
            <a:endParaRPr lang="zh-CN" altLang="en-US" dirty="0"/>
          </a:p>
        </p:txBody>
      </p:sp>
      <p:sp>
        <p:nvSpPr>
          <p:cNvPr id="80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7085322" y="2339616"/>
            <a:ext cx="4312355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8807632" y="6010817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V2X Syste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7936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7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8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/>
                <a:ea typeface="+mj-ea"/>
                <a:cs typeface="Porsche Next TT" panose="020B0504020101010102" pitchFamily="34" charset="0"/>
              </a:rPr>
              <a:t>Warning Signal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9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6849324" y="4785455"/>
            <a:ext cx="1677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ide Car Warning</a:t>
            </a:r>
          </a:p>
        </p:txBody>
      </p:sp>
      <p:cxnSp>
        <p:nvCxnSpPr>
          <p:cNvPr id="10" name="Straight Arrow Connector 9"/>
          <p:cNvCxnSpPr>
            <a:stCxn id="25" idx="3"/>
          </p:cNvCxnSpPr>
          <p:nvPr/>
        </p:nvCxnSpPr>
        <p:spPr>
          <a:xfrm flipV="1">
            <a:off x="4549102" y="1178352"/>
            <a:ext cx="844726" cy="2244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2661467" y="5385101"/>
            <a:ext cx="13277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etect Scope</a:t>
            </a:r>
          </a:p>
        </p:txBody>
      </p:sp>
      <p:cxnSp>
        <p:nvCxnSpPr>
          <p:cNvPr id="14" name="Curved Connector 13"/>
          <p:cNvCxnSpPr/>
          <p:nvPr/>
        </p:nvCxnSpPr>
        <p:spPr>
          <a:xfrm flipV="1">
            <a:off x="3996485" y="5093232"/>
            <a:ext cx="680293" cy="419624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383289" y="4171034"/>
            <a:ext cx="406400" cy="66963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5163127" y="1092258"/>
            <a:ext cx="19596" cy="532069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001221" y="1092258"/>
            <a:ext cx="7523" cy="531400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6823797" y="1092258"/>
            <a:ext cx="10966" cy="53273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5394629" y="904968"/>
            <a:ext cx="406400" cy="1191490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81905" y="5616947"/>
            <a:ext cx="406400" cy="669636"/>
          </a:xfrm>
          <a:prstGeom prst="rect">
            <a:avLst/>
          </a:prstGeom>
          <a:noFill/>
          <a:ln>
            <a:solidFill>
              <a:srgbClr val="FFC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222770" y="2154045"/>
            <a:ext cx="406400" cy="671945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2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3221124" y="2897490"/>
            <a:ext cx="20162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Forward Car Warning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D15C5CB5-CF7E-498C-A7CC-D2323487C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8453768">
            <a:off x="5951574" y="4454652"/>
            <a:ext cx="741343" cy="741343"/>
          </a:xfrm>
          <a:prstGeom prst="rect">
            <a:avLst/>
          </a:prstGeom>
        </p:spPr>
      </p:pic>
      <p:cxnSp>
        <p:nvCxnSpPr>
          <p:cNvPr id="24" name="Straight Arrow Connector 23"/>
          <p:cNvCxnSpPr>
            <a:stCxn id="25" idx="3"/>
            <a:endCxn id="21" idx="1"/>
          </p:cNvCxnSpPr>
          <p:nvPr/>
        </p:nvCxnSpPr>
        <p:spPr>
          <a:xfrm>
            <a:off x="4549102" y="1402770"/>
            <a:ext cx="1673668" cy="10872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2794583" y="1248881"/>
            <a:ext cx="1754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arning Canceled</a:t>
            </a:r>
          </a:p>
        </p:txBody>
      </p:sp>
      <p:sp>
        <p:nvSpPr>
          <p:cNvPr id="26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5340581" y="4298915"/>
            <a:ext cx="6331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o</a:t>
            </a: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/>
          </p:nvPr>
        </p:nvGraphicFramePr>
        <p:xfrm>
          <a:off x="7196705" y="1948603"/>
          <a:ext cx="4995295" cy="1280160"/>
        </p:xfrm>
        <a:graphic>
          <a:graphicData uri="http://schemas.openxmlformats.org/drawingml/2006/table">
            <a:tbl>
              <a:tblPr/>
              <a:tblGrid>
                <a:gridCol w="1885277">
                  <a:extLst>
                    <a:ext uri="{9D8B030D-6E8A-4147-A177-3AD203B41FA5}">
                      <a16:colId xmlns:a16="http://schemas.microsoft.com/office/drawing/2014/main" val="3005805532"/>
                    </a:ext>
                  </a:extLst>
                </a:gridCol>
                <a:gridCol w="3110018">
                  <a:extLst>
                    <a:ext uri="{9D8B030D-6E8A-4147-A177-3AD203B41FA5}">
                      <a16:colId xmlns:a16="http://schemas.microsoft.com/office/drawing/2014/main" val="1964905229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Warning Typ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9C6500"/>
                          </a:solidFill>
                          <a:effectLst/>
                          <a:latin typeface="Calibri" panose="020F0502020204030204" pitchFamily="34" charset="0"/>
                        </a:rPr>
                        <a:t>Warning Level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50816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17004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ergency Brake Warn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36976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ward Car Warn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22813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ward Car Warning Cancele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5180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de Car Warnin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375708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de Car Warning Cancele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9756539"/>
                  </a:ext>
                </a:extLst>
              </a:tr>
            </a:tbl>
          </a:graphicData>
        </a:graphic>
      </p:graphicFrame>
      <p:sp>
        <p:nvSpPr>
          <p:cNvPr id="28" name="Rectangle 27"/>
          <p:cNvSpPr/>
          <p:nvPr/>
        </p:nvSpPr>
        <p:spPr>
          <a:xfrm>
            <a:off x="7103345" y="2305489"/>
            <a:ext cx="1708728" cy="1845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7103345" y="3041943"/>
            <a:ext cx="1708728" cy="1845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e 29"/>
          <p:cNvSpPr/>
          <p:nvPr/>
        </p:nvSpPr>
        <p:spPr>
          <a:xfrm>
            <a:off x="4480503" y="3721794"/>
            <a:ext cx="1783502" cy="1648609"/>
          </a:xfrm>
          <a:prstGeom prst="pie">
            <a:avLst>
              <a:gd name="adj1" fmla="val 6785097"/>
              <a:gd name="adj2" fmla="val 14900285"/>
            </a:avLst>
          </a:prstGeom>
          <a:solidFill>
            <a:srgbClr val="FFF2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Pie 30"/>
          <p:cNvSpPr/>
          <p:nvPr/>
        </p:nvSpPr>
        <p:spPr>
          <a:xfrm rot="10800000">
            <a:off x="4905167" y="3681547"/>
            <a:ext cx="1783502" cy="1648609"/>
          </a:xfrm>
          <a:prstGeom prst="pie">
            <a:avLst>
              <a:gd name="adj1" fmla="val 6785097"/>
              <a:gd name="adj2" fmla="val 14900285"/>
            </a:avLst>
          </a:prstGeom>
          <a:solidFill>
            <a:srgbClr val="FFF2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209309" y="4825324"/>
            <a:ext cx="406400" cy="6719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3" name="Pie 32"/>
          <p:cNvSpPr/>
          <p:nvPr/>
        </p:nvSpPr>
        <p:spPr>
          <a:xfrm rot="5400000">
            <a:off x="4483607" y="3560305"/>
            <a:ext cx="2233571" cy="1229780"/>
          </a:xfrm>
          <a:prstGeom prst="pie">
            <a:avLst>
              <a:gd name="adj1" fmla="val 9305945"/>
              <a:gd name="adj2" fmla="val 12295962"/>
            </a:avLst>
          </a:prstGeom>
          <a:solidFill>
            <a:srgbClr val="FFF2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390518" y="2465910"/>
            <a:ext cx="406400" cy="11914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35" name="Graphic 4">
            <a:extLst>
              <a:ext uri="{FF2B5EF4-FFF2-40B4-BE49-F238E27FC236}">
                <a16:creationId xmlns:a16="http://schemas.microsoft.com/office/drawing/2014/main" id="{D15C5CB5-CF7E-498C-A7CC-D2323487C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8453768">
            <a:off x="5033252" y="2342704"/>
            <a:ext cx="741343" cy="741343"/>
          </a:xfrm>
          <a:prstGeom prst="rect">
            <a:avLst/>
          </a:prstGeom>
        </p:spPr>
      </p:pic>
      <p:pic>
        <p:nvPicPr>
          <p:cNvPr id="39" name="Graphic 4">
            <a:extLst>
              <a:ext uri="{FF2B5EF4-FFF2-40B4-BE49-F238E27FC236}">
                <a16:creationId xmlns:a16="http://schemas.microsoft.com/office/drawing/2014/main" id="{D15C5CB5-CF7E-498C-A7CC-D2323487C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8453768">
            <a:off x="5887319" y="4416616"/>
            <a:ext cx="741343" cy="74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26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5807" y="536895"/>
            <a:ext cx="6728338" cy="5832421"/>
          </a:xfrm>
          <a:prstGeom prst="rect">
            <a:avLst/>
          </a:prstGeom>
        </p:spPr>
      </p:pic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8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8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>
                <a:latin typeface="Porsche Next TT"/>
              </a:rPr>
              <a:t>Flow chart</a:t>
            </a:r>
          </a:p>
        </p:txBody>
      </p:sp>
    </p:spTree>
    <p:extLst>
      <p:ext uri="{BB962C8B-B14F-4D97-AF65-F5344CB8AC3E}">
        <p14:creationId xmlns:p14="http://schemas.microsoft.com/office/powerpoint/2010/main" val="362288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19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8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smtClean="0">
                <a:latin typeface="Porsche Next TT"/>
              </a:rPr>
              <a:t>L</a:t>
            </a:r>
            <a:r>
              <a:rPr lang="en-US" altLang="zh-CN" kern="0" dirty="0" smtClean="0">
                <a:latin typeface="Porsche Next TT"/>
              </a:rPr>
              <a:t>ane Judgement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3651453" y="1751339"/>
            <a:ext cx="3038293" cy="275497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H="1">
            <a:off x="4079374" y="2230142"/>
            <a:ext cx="3024751" cy="276139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4481108" y="2704354"/>
            <a:ext cx="3000347" cy="284540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5960730" y="952560"/>
            <a:ext cx="0" cy="51554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2370407" y="3219868"/>
            <a:ext cx="6815095" cy="226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 rot="2708889">
            <a:off x="6280857" y="2861411"/>
            <a:ext cx="406400" cy="67194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>
          <a:xfrm rot="2762285">
            <a:off x="4659968" y="3530372"/>
            <a:ext cx="406400" cy="669636"/>
          </a:xfrm>
          <a:prstGeom prst="rect">
            <a:avLst/>
          </a:prstGeom>
          <a:solidFill>
            <a:srgbClr val="FFC000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4823457" y="2032529"/>
            <a:ext cx="2058079" cy="1824137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4237369" y="2684243"/>
            <a:ext cx="1047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</a:t>
            </a:r>
            <a:r>
              <a:rPr kumimoji="0" lang="en-US" altLang="zh-CN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ading</a:t>
            </a: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β</a:t>
            </a:r>
          </a:p>
        </p:txBody>
      </p:sp>
      <p:sp>
        <p:nvSpPr>
          <p:cNvPr id="41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9135952" y="3058841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x</a:t>
            </a:r>
          </a:p>
        </p:txBody>
      </p:sp>
      <p:sp>
        <p:nvSpPr>
          <p:cNvPr id="42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5832942" y="6076086"/>
            <a:ext cx="3261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y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032" name="Oval 1031"/>
          <p:cNvSpPr/>
          <p:nvPr/>
        </p:nvSpPr>
        <p:spPr>
          <a:xfrm>
            <a:off x="4812368" y="3794685"/>
            <a:ext cx="101600" cy="103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/>
          <p:cNvSpPr/>
          <p:nvPr/>
        </p:nvSpPr>
        <p:spPr>
          <a:xfrm>
            <a:off x="6441249" y="3145883"/>
            <a:ext cx="101600" cy="103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" name="Straight Connector 44"/>
          <p:cNvCxnSpPr/>
          <p:nvPr/>
        </p:nvCxnSpPr>
        <p:spPr>
          <a:xfrm flipH="1">
            <a:off x="4913969" y="3212729"/>
            <a:ext cx="1527280" cy="609628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9" name="Straight Arrow Connector 1038"/>
          <p:cNvCxnSpPr>
            <a:stCxn id="1032" idx="6"/>
          </p:cNvCxnSpPr>
          <p:nvPr/>
        </p:nvCxnSpPr>
        <p:spPr>
          <a:xfrm flipV="1">
            <a:off x="4913968" y="3833884"/>
            <a:ext cx="2350381" cy="123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3" name="Arc 1042"/>
          <p:cNvSpPr/>
          <p:nvPr/>
        </p:nvSpPr>
        <p:spPr>
          <a:xfrm>
            <a:off x="4761888" y="3513503"/>
            <a:ext cx="537016" cy="677857"/>
          </a:xfrm>
          <a:prstGeom prst="arc">
            <a:avLst>
              <a:gd name="adj1" fmla="val 19365401"/>
              <a:gd name="adj2" fmla="val 2152994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6375110" y="4310956"/>
            <a:ext cx="1648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</a:t>
            </a:r>
            <a:r>
              <a:rPr kumimoji="0" lang="en-US" altLang="zh-CN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irection</a:t>
            </a:r>
            <a:r>
              <a:rPr kumimoji="0" lang="en-US" altLang="zh-CN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angle 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α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8" name="Arc 57"/>
          <p:cNvSpPr/>
          <p:nvPr/>
        </p:nvSpPr>
        <p:spPr>
          <a:xfrm>
            <a:off x="4573284" y="3290330"/>
            <a:ext cx="1018066" cy="986100"/>
          </a:xfrm>
          <a:prstGeom prst="arc">
            <a:avLst>
              <a:gd name="adj1" fmla="val 18404543"/>
              <a:gd name="adj2" fmla="val 422431"/>
            </a:avLst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9" name="Straight Arrow Connector 58"/>
          <p:cNvCxnSpPr>
            <a:stCxn id="40" idx="3"/>
          </p:cNvCxnSpPr>
          <p:nvPr/>
        </p:nvCxnSpPr>
        <p:spPr>
          <a:xfrm>
            <a:off x="5284451" y="2838132"/>
            <a:ext cx="241434" cy="6720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 flipH="1" flipV="1">
            <a:off x="5301089" y="3736640"/>
            <a:ext cx="1290420" cy="5397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9" name="Straight Connector 1048"/>
          <p:cNvCxnSpPr>
            <a:endCxn id="44" idx="1"/>
          </p:cNvCxnSpPr>
          <p:nvPr/>
        </p:nvCxnSpPr>
        <p:spPr>
          <a:xfrm>
            <a:off x="6102562" y="2718626"/>
            <a:ext cx="353566" cy="442341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ight Bracket 34"/>
          <p:cNvSpPr/>
          <p:nvPr/>
        </p:nvSpPr>
        <p:spPr>
          <a:xfrm rot="19320000">
            <a:off x="6270771" y="2640546"/>
            <a:ext cx="61322" cy="554413"/>
          </a:xfrm>
          <a:prstGeom prst="rightBracket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77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6965164" y="2333722"/>
            <a:ext cx="35442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vertical distance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 = cos(α-β)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×</a:t>
            </a:r>
            <a:r>
              <a:rPr lang="en-US" altLang="zh-CN" sz="14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istance</a:t>
            </a:r>
            <a:endParaRPr kumimoji="0" lang="en-US" altLang="zh-CN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 flipH="1">
            <a:off x="6335986" y="2594545"/>
            <a:ext cx="696109" cy="29322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6638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ctrTitle"/>
          </p:nvPr>
        </p:nvSpPr>
        <p:spPr bwMode="auto">
          <a:xfrm>
            <a:off x="339757" y="2981996"/>
            <a:ext cx="11517281" cy="5064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608" tIns="54804" rIns="109608" bIns="54804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latin typeface="Porsche Next TT"/>
              </a:rPr>
              <a:t>Jupiter </a:t>
            </a:r>
            <a:r>
              <a:rPr lang="de-DE" dirty="0" err="1">
                <a:latin typeface="Porsche Next TT"/>
              </a:rPr>
              <a:t>Twins</a:t>
            </a:r>
            <a:r>
              <a:rPr lang="de-DE" dirty="0">
                <a:latin typeface="Porsche Next TT"/>
              </a:rPr>
              <a:t> - V2X Integration</a:t>
            </a:r>
          </a:p>
        </p:txBody>
      </p:sp>
      <p:sp>
        <p:nvSpPr>
          <p:cNvPr id="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2-</a:t>
            </a:r>
          </a:p>
        </p:txBody>
      </p:sp>
    </p:spTree>
    <p:extLst>
      <p:ext uri="{BB962C8B-B14F-4D97-AF65-F5344CB8AC3E}">
        <p14:creationId xmlns:p14="http://schemas.microsoft.com/office/powerpoint/2010/main" val="2430378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hlinkClick r:id="rId2" action="ppaction://hlinkfile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842" y="470534"/>
            <a:ext cx="3902158" cy="5892800"/>
          </a:xfrm>
          <a:prstGeom prst="rect">
            <a:avLst/>
          </a:prstGeom>
        </p:spPr>
      </p:pic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8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>
                <a:latin typeface="Porsche Next TT"/>
              </a:rPr>
              <a:t>ROS Graph</a:t>
            </a:r>
          </a:p>
        </p:txBody>
      </p:sp>
      <p:sp>
        <p:nvSpPr>
          <p:cNvPr id="10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8498849" y="2429464"/>
            <a:ext cx="105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 action="ppaction://hlinkfile"/>
              </a:rPr>
              <a:t>Demo 1</a:t>
            </a:r>
            <a:endParaRPr kumimoji="0" lang="en-US" altLang="zh-CN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8498849" y="3514737"/>
            <a:ext cx="105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7" action="ppaction://hlinkfile"/>
              </a:rPr>
              <a:t>Demo 2</a:t>
            </a:r>
            <a:endParaRPr kumimoji="0" lang="en-US" altLang="zh-CN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446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ctrTitle"/>
          </p:nvPr>
        </p:nvSpPr>
        <p:spPr bwMode="auto">
          <a:xfrm>
            <a:off x="339757" y="2981996"/>
            <a:ext cx="11517281" cy="5064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608" tIns="54804" rIns="109608" bIns="54804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 smtClean="0">
                <a:latin typeface="Porsche Next TT"/>
              </a:rPr>
              <a:t>Jupiter </a:t>
            </a:r>
            <a:r>
              <a:rPr lang="de-DE" dirty="0" err="1" smtClean="0">
                <a:latin typeface="Porsche Next TT"/>
              </a:rPr>
              <a:t>Platform</a:t>
            </a:r>
            <a:endParaRPr lang="de-DE" dirty="0">
              <a:latin typeface="Porsche Next T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1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</p:spTree>
    <p:extLst>
      <p:ext uri="{BB962C8B-B14F-4D97-AF65-F5344CB8AC3E}">
        <p14:creationId xmlns:p14="http://schemas.microsoft.com/office/powerpoint/2010/main" val="91017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Freeform 3"/>
          <p:cNvSpPr/>
          <p:nvPr/>
        </p:nvSpPr>
        <p:spPr>
          <a:xfrm>
            <a:off x="421386" y="1475994"/>
            <a:ext cx="5252466" cy="4546853"/>
          </a:xfrm>
          <a:custGeom>
            <a:avLst/>
            <a:gdLst>
              <a:gd name="connsiteX0" fmla="*/ 9525 w 5252466"/>
              <a:gd name="connsiteY0" fmla="*/ 764158 h 4546853"/>
              <a:gd name="connsiteX1" fmla="*/ 764171 w 5252466"/>
              <a:gd name="connsiteY1" fmla="*/ 9525 h 4546853"/>
              <a:gd name="connsiteX2" fmla="*/ 4488306 w 5252466"/>
              <a:gd name="connsiteY2" fmla="*/ 9525 h 4546853"/>
              <a:gd name="connsiteX3" fmla="*/ 5242941 w 5252466"/>
              <a:gd name="connsiteY3" fmla="*/ 764158 h 4546853"/>
              <a:gd name="connsiteX4" fmla="*/ 5242941 w 5252466"/>
              <a:gd name="connsiteY4" fmla="*/ 3782695 h 4546853"/>
              <a:gd name="connsiteX5" fmla="*/ 4488306 w 5252466"/>
              <a:gd name="connsiteY5" fmla="*/ 4537328 h 4546853"/>
              <a:gd name="connsiteX6" fmla="*/ 764171 w 5252466"/>
              <a:gd name="connsiteY6" fmla="*/ 4537328 h 4546853"/>
              <a:gd name="connsiteX7" fmla="*/ 9525 w 5252466"/>
              <a:gd name="connsiteY7" fmla="*/ 3782695 h 4546853"/>
              <a:gd name="connsiteX8" fmla="*/ 9525 w 5252466"/>
              <a:gd name="connsiteY8" fmla="*/ 764158 h 454685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5252466" h="4546853">
                <a:moveTo>
                  <a:pt x="9525" y="764158"/>
                </a:moveTo>
                <a:cubicBezTo>
                  <a:pt x="9525" y="347345"/>
                  <a:pt x="347395" y="9525"/>
                  <a:pt x="764171" y="9525"/>
                </a:cubicBezTo>
                <a:lnTo>
                  <a:pt x="4488306" y="9525"/>
                </a:lnTo>
                <a:cubicBezTo>
                  <a:pt x="4905121" y="9525"/>
                  <a:pt x="5242941" y="347345"/>
                  <a:pt x="5242941" y="764158"/>
                </a:cubicBezTo>
                <a:lnTo>
                  <a:pt x="5242941" y="3782695"/>
                </a:lnTo>
                <a:cubicBezTo>
                  <a:pt x="5242941" y="4199458"/>
                  <a:pt x="4905121" y="4537328"/>
                  <a:pt x="4488306" y="4537328"/>
                </a:cubicBezTo>
                <a:lnTo>
                  <a:pt x="764171" y="4537328"/>
                </a:lnTo>
                <a:cubicBezTo>
                  <a:pt x="347395" y="4537328"/>
                  <a:pt x="9525" y="4199458"/>
                  <a:pt x="9525" y="3782695"/>
                </a:cubicBezTo>
                <a:lnTo>
                  <a:pt x="9525" y="76415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55973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27500" y="2032000"/>
            <a:ext cx="673100" cy="673100"/>
          </a:xfrm>
          <a:prstGeom prst="rect">
            <a:avLst/>
          </a:prstGeom>
          <a:noFill/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165600" y="2921000"/>
            <a:ext cx="660400" cy="698500"/>
          </a:xfrm>
          <a:prstGeom prst="rect">
            <a:avLst/>
          </a:prstGeom>
          <a:noFill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203700" y="3835400"/>
            <a:ext cx="812800" cy="812800"/>
          </a:xfrm>
          <a:prstGeom prst="rect">
            <a:avLst/>
          </a:prstGeom>
          <a:noFill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91000" y="4864100"/>
            <a:ext cx="812800" cy="812800"/>
          </a:xfrm>
          <a:prstGeom prst="rect">
            <a:avLst/>
          </a:prstGeom>
          <a:noFill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67400" y="2057400"/>
            <a:ext cx="5689600" cy="32131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13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14" name="TextBox 1"/>
          <p:cNvSpPr txBox="1"/>
          <p:nvPr/>
        </p:nvSpPr>
        <p:spPr>
          <a:xfrm>
            <a:off x="330200" y="749300"/>
            <a:ext cx="11798300" cy="58166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heVisionofJupiter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h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enefit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Jupiter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			</a:t>
            </a:r>
            <a:r>
              <a:rPr kumimoji="0" lang="en-US" altLang="zh-CN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JUPITER</a:t>
            </a:r>
          </a:p>
          <a:p>
            <a:pPr marL="0" marR="0" lvl="0" indent="0" algn="l" defTabSz="914400" rtl="0" eaLnBrk="1" fontAlgn="auto" latinLnBrk="0" hangingPunct="1">
              <a:lnSpc>
                <a:spcPts val="3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ullyScalable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apid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rototyping</a:t>
            </a: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				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Vehicle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odularSoftwareArchitecture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or</a:t>
            </a: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			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Novel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d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tate-of-the-Art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</a:t>
            </a: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	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lgorithms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llaboration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cross</a:t>
            </a: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	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various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omains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400" algn="l"/>
                <a:tab pos="431800" algn="l"/>
                <a:tab pos="673100" algn="l"/>
                <a:tab pos="736600" algn="l"/>
                <a:tab pos="1333500" algn="l"/>
                <a:tab pos="1460500" algn="l"/>
                <a:tab pos="1651000" algn="l"/>
                <a:tab pos="1689100" algn="l"/>
                <a:tab pos="1803400" algn="l"/>
                <a:tab pos="11049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						</a:t>
            </a:r>
            <a:r>
              <a:rPr kumimoji="0" lang="en-US" altLang="zh-CN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'images:</a:t>
            </a:r>
            <a:r>
              <a:rPr kumimoji="0" lang="en-US" altLang="zh-CN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Flaticon.com'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2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98420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3" name="TextBox 1"/>
          <p:cNvSpPr txBox="1"/>
          <p:nvPr/>
        </p:nvSpPr>
        <p:spPr>
          <a:xfrm>
            <a:off x="330200" y="571500"/>
            <a:ext cx="13462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DE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tup:</a:t>
            </a:r>
          </a:p>
        </p:txBody>
      </p:sp>
      <p:sp>
        <p:nvSpPr>
          <p:cNvPr id="4" name="TextBox 1"/>
          <p:cNvSpPr txBox="1"/>
          <p:nvPr/>
        </p:nvSpPr>
        <p:spPr>
          <a:xfrm>
            <a:off x="8153400" y="2628900"/>
            <a:ext cx="3416300" cy="31496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velopmentplatform: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owerful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rver-CPU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512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GB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AM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gh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rformanc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GPU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32VGB)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or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I-applications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x86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rchitectur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o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ensur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rd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arty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mpatibility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OpenCV,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ython,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…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gh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peed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ata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ogging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3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GB/s)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us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ata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gatewaywith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lexDevice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</a:t>
            </a:r>
            <a:r>
              <a:rPr kumimoji="0" lang="en-US" altLang="zh-CN" sz="935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ccess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vehicl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us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ata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d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anipulation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hrough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wn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mplemented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lexRay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o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DPGateway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rformanc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evaluated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with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tat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the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  <a:tab pos="800100" algn="l"/>
                <a:tab pos="965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rt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Gateways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romVector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381000" y="2425700"/>
            <a:ext cx="4687181" cy="447045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ZED2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tereo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amera: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OV(110°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H)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x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70°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V)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various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esolution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ptions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2K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pth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ang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0.2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20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)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vox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dar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orizon: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OV81,7°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H)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x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5,1°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V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240.000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oints/sec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64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nes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p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o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60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80%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eflectivity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ow-cost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800$)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lickfeld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ube1: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olid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tat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dar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MEMS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OV70°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H)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x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0°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V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caning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nes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nfigurabl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50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nes)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73100" algn="l"/>
                <a:tab pos="1612900" algn="l"/>
                <a:tab pos="2044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p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o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50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80%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eflectivity)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lvl="0">
              <a:lnSpc>
                <a:spcPts val="1600"/>
              </a:lnSpc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cs typeface="MS Shell Dlg" pitchFamily="18" charset="0"/>
              </a:rPr>
              <a:t>20.09.2022</a:t>
            </a:r>
            <a:endParaRPr lang="en-US" altLang="zh-CN" sz="1097" dirty="0">
              <a:solidFill>
                <a:srgbClr val="7E7F82"/>
              </a:solidFill>
              <a:latin typeface="MS Shell Dlg" pitchFamily="18" charset="0"/>
              <a:cs typeface="MS Shell Dlg" pitchFamily="18" charset="0"/>
            </a:endParaRPr>
          </a:p>
          <a:p>
            <a:pPr lvl="0">
              <a:lnSpc>
                <a:spcPts val="1300"/>
              </a:lnSpc>
              <a:defRPr/>
            </a:pPr>
            <a:r>
              <a:rPr lang="en-US" altLang="zh-CN" sz="1097" dirty="0">
                <a:solidFill>
                  <a:srgbClr val="7E7F82"/>
                </a:solidFill>
                <a:latin typeface="MS Shell Dlg" pitchFamily="18" charset="0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cs typeface="MS Shell Dlg" pitchFamily="18" charset="0"/>
              </a:rPr>
              <a:t>23-</a:t>
            </a:r>
            <a:endParaRPr lang="en-US" altLang="zh-CN" sz="1097" dirty="0">
              <a:solidFill>
                <a:srgbClr val="7E7F82"/>
              </a:solidFill>
              <a:latin typeface="MS Shell Dlg" pitchFamily="18" charset="0"/>
              <a:cs typeface="MS Shell Dlg" pitchFamily="18" charset="0"/>
            </a:endParaRPr>
          </a:p>
        </p:txBody>
      </p:sp>
      <p:sp>
        <p:nvSpPr>
          <p:cNvPr id="6" name="TextBox 1"/>
          <p:cNvSpPr txBox="1"/>
          <p:nvPr/>
        </p:nvSpPr>
        <p:spPr>
          <a:xfrm>
            <a:off x="3759200" y="1104900"/>
            <a:ext cx="1473200" cy="4318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MASlim: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ual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tenna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ystem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7289800" y="812800"/>
            <a:ext cx="1498600" cy="4318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dex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X880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outer:</a:t>
            </a: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•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4G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TE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/VPN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rvice</a:t>
            </a:r>
          </a:p>
        </p:txBody>
      </p:sp>
    </p:spTree>
    <p:extLst>
      <p:ext uri="{BB962C8B-B14F-4D97-AF65-F5344CB8AC3E}">
        <p14:creationId xmlns:p14="http://schemas.microsoft.com/office/powerpoint/2010/main" val="3679934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3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4" name="TextBox 1"/>
          <p:cNvSpPr txBox="1"/>
          <p:nvPr/>
        </p:nvSpPr>
        <p:spPr>
          <a:xfrm>
            <a:off x="4902200" y="4470400"/>
            <a:ext cx="393700" cy="127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8" charset="0"/>
                <a:ea typeface="宋体" panose="02010600030101010101" pitchFamily="2" charset="-122"/>
                <a:cs typeface="Calibri" pitchFamily="18" charset="0"/>
              </a:rPr>
              <a:t>Kamera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6299200" y="4470400"/>
            <a:ext cx="292100" cy="127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8" charset="0"/>
                <a:ea typeface="宋体" panose="02010600030101010101" pitchFamily="2" charset="-122"/>
                <a:cs typeface="Calibri" pitchFamily="18" charset="0"/>
              </a:rPr>
              <a:t>LiDAR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7607300" y="4470400"/>
            <a:ext cx="292100" cy="127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8" charset="0"/>
                <a:ea typeface="宋体" panose="02010600030101010101" pitchFamily="2" charset="-122"/>
                <a:cs typeface="Calibri" pitchFamily="18" charset="0"/>
              </a:rPr>
              <a:t>Radar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4927600" y="4940300"/>
            <a:ext cx="927100" cy="127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8" charset="0"/>
                <a:ea typeface="宋体" panose="02010600030101010101" pitchFamily="2" charset="-122"/>
                <a:cs typeface="Calibri" pitchFamily="18" charset="0"/>
              </a:rPr>
              <a:t>Serienausstattung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6781800" y="4940300"/>
            <a:ext cx="1028700" cy="127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8" charset="0"/>
                <a:ea typeface="宋体" panose="02010600030101010101" pitchFamily="2" charset="-122"/>
                <a:cs typeface="Calibri" pitchFamily="18" charset="0"/>
              </a:rPr>
              <a:t>Zusätzliche</a:t>
            </a:r>
            <a:r>
              <a:rPr kumimoji="0" lang="en-US" altLang="zh-CN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8" charset="0"/>
                <a:ea typeface="宋体" panose="02010600030101010101" pitchFamily="2" charset="-122"/>
                <a:cs typeface="Calibri" pitchFamily="18" charset="0"/>
              </a:rPr>
              <a:t>Sensorik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419100" y="4635500"/>
            <a:ext cx="25400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aw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rie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amera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mage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8382000" y="4635500"/>
            <a:ext cx="12319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IB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isplay: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330200" y="571500"/>
            <a:ext cx="46101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-Stack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: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se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schematic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epresentation)</a:t>
            </a:r>
          </a:p>
        </p:txBody>
      </p:sp>
      <p:sp>
        <p:nvSpPr>
          <p:cNvPr id="12" name="TextBox 1"/>
          <p:cNvSpPr txBox="1"/>
          <p:nvPr/>
        </p:nvSpPr>
        <p:spPr>
          <a:xfrm>
            <a:off x="4597400" y="5575300"/>
            <a:ext cx="7620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x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SE: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6769100" y="4889500"/>
            <a:ext cx="508000" cy="1778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ditional</a:t>
            </a:r>
          </a:p>
        </p:txBody>
      </p:sp>
      <p:sp>
        <p:nvSpPr>
          <p:cNvPr id="14" name="TextBox 1"/>
          <p:cNvSpPr txBox="1"/>
          <p:nvPr/>
        </p:nvSpPr>
        <p:spPr>
          <a:xfrm>
            <a:off x="5257800" y="4889500"/>
            <a:ext cx="393700" cy="1778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4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852997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" name="Freeform 3"/>
          <p:cNvSpPr/>
          <p:nvPr/>
        </p:nvSpPr>
        <p:spPr>
          <a:xfrm>
            <a:off x="2474399" y="1017080"/>
            <a:ext cx="2925470" cy="5319732"/>
          </a:xfrm>
          <a:custGeom>
            <a:avLst/>
            <a:gdLst>
              <a:gd name="connsiteX0" fmla="*/ 0 w 2925470"/>
              <a:gd name="connsiteY0" fmla="*/ 5319732 h 5319732"/>
              <a:gd name="connsiteX1" fmla="*/ 2925470 w 2925470"/>
              <a:gd name="connsiteY1" fmla="*/ 5319733 h 5319732"/>
              <a:gd name="connsiteX2" fmla="*/ 2925470 w 2925470"/>
              <a:gd name="connsiteY2" fmla="*/ 0 h 5319732"/>
              <a:gd name="connsiteX3" fmla="*/ 0 w 2925470"/>
              <a:gd name="connsiteY3" fmla="*/ 0 h 5319732"/>
              <a:gd name="connsiteX4" fmla="*/ 0 w 2925470"/>
              <a:gd name="connsiteY4" fmla="*/ 5319732 h 531973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925470" h="5319732">
                <a:moveTo>
                  <a:pt x="0" y="5319732"/>
                </a:moveTo>
                <a:lnTo>
                  <a:pt x="2925470" y="5319733"/>
                </a:lnTo>
                <a:lnTo>
                  <a:pt x="2925470" y="0"/>
                </a:lnTo>
                <a:lnTo>
                  <a:pt x="0" y="0"/>
                </a:lnTo>
                <a:lnTo>
                  <a:pt x="0" y="5319732"/>
                </a:lnTo>
              </a:path>
            </a:pathLst>
          </a:custGeom>
          <a:solidFill>
            <a:srgbClr val="A4DAF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7" name="Freeform 3"/>
          <p:cNvSpPr/>
          <p:nvPr/>
        </p:nvSpPr>
        <p:spPr>
          <a:xfrm>
            <a:off x="5399892" y="1017080"/>
            <a:ext cx="4840356" cy="5319733"/>
          </a:xfrm>
          <a:custGeom>
            <a:avLst/>
            <a:gdLst>
              <a:gd name="connsiteX0" fmla="*/ 0 w 4840356"/>
              <a:gd name="connsiteY0" fmla="*/ 5319732 h 5319733"/>
              <a:gd name="connsiteX1" fmla="*/ 4840356 w 4840356"/>
              <a:gd name="connsiteY1" fmla="*/ 5319732 h 5319733"/>
              <a:gd name="connsiteX2" fmla="*/ 4840356 w 4840356"/>
              <a:gd name="connsiteY2" fmla="*/ 0 h 5319733"/>
              <a:gd name="connsiteX3" fmla="*/ 0 w 4840356"/>
              <a:gd name="connsiteY3" fmla="*/ 0 h 5319733"/>
              <a:gd name="connsiteX4" fmla="*/ 0 w 4840356"/>
              <a:gd name="connsiteY4" fmla="*/ 5319732 h 531973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4840356" h="5319733">
                <a:moveTo>
                  <a:pt x="0" y="5319732"/>
                </a:moveTo>
                <a:lnTo>
                  <a:pt x="4840356" y="5319732"/>
                </a:lnTo>
                <a:lnTo>
                  <a:pt x="4840356" y="0"/>
                </a:lnTo>
                <a:lnTo>
                  <a:pt x="0" y="0"/>
                </a:lnTo>
                <a:lnTo>
                  <a:pt x="0" y="5319732"/>
                </a:lnTo>
              </a:path>
            </a:pathLst>
          </a:custGeom>
          <a:solidFill>
            <a:srgbClr val="151E2D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Freeform 3"/>
          <p:cNvSpPr/>
          <p:nvPr/>
        </p:nvSpPr>
        <p:spPr>
          <a:xfrm>
            <a:off x="6453109" y="4317514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20 w 638295"/>
              <a:gd name="connsiteY1" fmla="*/ 319187 h 319187"/>
              <a:gd name="connsiteX2" fmla="*/ 638295 w 638295"/>
              <a:gd name="connsiteY2" fmla="*/ 255379 h 319187"/>
              <a:gd name="connsiteX3" fmla="*/ 638295 w 638295"/>
              <a:gd name="connsiteY3" fmla="*/ 63882 h 319187"/>
              <a:gd name="connsiteX4" fmla="*/ 574420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82 h 319187"/>
              <a:gd name="connsiteX7" fmla="*/ 0 w 638295"/>
              <a:gd name="connsiteY7" fmla="*/ 255379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20" y="319187"/>
                </a:lnTo>
                <a:cubicBezTo>
                  <a:pt x="609698" y="319187"/>
                  <a:pt x="638295" y="290586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22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586"/>
                  <a:pt x="28522" y="319187"/>
                  <a:pt x="63799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" name="Freeform 3"/>
          <p:cNvSpPr/>
          <p:nvPr/>
        </p:nvSpPr>
        <p:spPr>
          <a:xfrm>
            <a:off x="7144546" y="4317514"/>
            <a:ext cx="638295" cy="319187"/>
          </a:xfrm>
          <a:custGeom>
            <a:avLst/>
            <a:gdLst>
              <a:gd name="connsiteX0" fmla="*/ 63874 w 638295"/>
              <a:gd name="connsiteY0" fmla="*/ 319187 h 319187"/>
              <a:gd name="connsiteX1" fmla="*/ 574495 w 638295"/>
              <a:gd name="connsiteY1" fmla="*/ 319187 h 319187"/>
              <a:gd name="connsiteX2" fmla="*/ 638295 w 638295"/>
              <a:gd name="connsiteY2" fmla="*/ 255379 h 319187"/>
              <a:gd name="connsiteX3" fmla="*/ 638295 w 638295"/>
              <a:gd name="connsiteY3" fmla="*/ 63882 h 319187"/>
              <a:gd name="connsiteX4" fmla="*/ 574495 w 638295"/>
              <a:gd name="connsiteY4" fmla="*/ 0 h 319187"/>
              <a:gd name="connsiteX5" fmla="*/ 63874 w 638295"/>
              <a:gd name="connsiteY5" fmla="*/ 0 h 319187"/>
              <a:gd name="connsiteX6" fmla="*/ 0 w 638295"/>
              <a:gd name="connsiteY6" fmla="*/ 63882 h 319187"/>
              <a:gd name="connsiteX7" fmla="*/ 0 w 638295"/>
              <a:gd name="connsiteY7" fmla="*/ 255379 h 319187"/>
              <a:gd name="connsiteX8" fmla="*/ 63874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874" y="319187"/>
                </a:moveTo>
                <a:lnTo>
                  <a:pt x="574495" y="319187"/>
                </a:lnTo>
                <a:cubicBezTo>
                  <a:pt x="609697" y="319187"/>
                  <a:pt x="638295" y="290586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7" y="0"/>
                  <a:pt x="574495" y="0"/>
                </a:cubicBezTo>
                <a:lnTo>
                  <a:pt x="63874" y="0"/>
                </a:lnTo>
                <a:cubicBezTo>
                  <a:pt x="28596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586"/>
                  <a:pt x="28596" y="319187"/>
                  <a:pt x="63874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" name="Freeform 3"/>
          <p:cNvSpPr/>
          <p:nvPr/>
        </p:nvSpPr>
        <p:spPr>
          <a:xfrm>
            <a:off x="7836057" y="4317514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20 w 638295"/>
              <a:gd name="connsiteY1" fmla="*/ 319187 h 319187"/>
              <a:gd name="connsiteX2" fmla="*/ 638295 w 638295"/>
              <a:gd name="connsiteY2" fmla="*/ 255379 h 319187"/>
              <a:gd name="connsiteX3" fmla="*/ 638295 w 638295"/>
              <a:gd name="connsiteY3" fmla="*/ 63882 h 319187"/>
              <a:gd name="connsiteX4" fmla="*/ 574420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82 h 319187"/>
              <a:gd name="connsiteX7" fmla="*/ 0 w 638295"/>
              <a:gd name="connsiteY7" fmla="*/ 255379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20" y="319187"/>
                </a:lnTo>
                <a:cubicBezTo>
                  <a:pt x="609698" y="319187"/>
                  <a:pt x="638295" y="290586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22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586"/>
                  <a:pt x="28522" y="319187"/>
                  <a:pt x="63799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Freeform 3"/>
          <p:cNvSpPr/>
          <p:nvPr/>
        </p:nvSpPr>
        <p:spPr>
          <a:xfrm>
            <a:off x="8527494" y="4317515"/>
            <a:ext cx="638295" cy="319186"/>
          </a:xfrm>
          <a:custGeom>
            <a:avLst/>
            <a:gdLst>
              <a:gd name="connsiteX0" fmla="*/ 63874 w 638295"/>
              <a:gd name="connsiteY0" fmla="*/ 319186 h 319186"/>
              <a:gd name="connsiteX1" fmla="*/ 574495 w 638295"/>
              <a:gd name="connsiteY1" fmla="*/ 319186 h 319186"/>
              <a:gd name="connsiteX2" fmla="*/ 638295 w 638295"/>
              <a:gd name="connsiteY2" fmla="*/ 255379 h 319186"/>
              <a:gd name="connsiteX3" fmla="*/ 638295 w 638295"/>
              <a:gd name="connsiteY3" fmla="*/ 63882 h 319186"/>
              <a:gd name="connsiteX4" fmla="*/ 574495 w 638295"/>
              <a:gd name="connsiteY4" fmla="*/ 0 h 319186"/>
              <a:gd name="connsiteX5" fmla="*/ 63874 w 638295"/>
              <a:gd name="connsiteY5" fmla="*/ 0 h 319186"/>
              <a:gd name="connsiteX6" fmla="*/ 0 w 638295"/>
              <a:gd name="connsiteY6" fmla="*/ 63882 h 319186"/>
              <a:gd name="connsiteX7" fmla="*/ 0 w 638295"/>
              <a:gd name="connsiteY7" fmla="*/ 255379 h 319186"/>
              <a:gd name="connsiteX8" fmla="*/ 63874 w 638295"/>
              <a:gd name="connsiteY8" fmla="*/ 319186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6">
                <a:moveTo>
                  <a:pt x="63874" y="319186"/>
                </a:moveTo>
                <a:lnTo>
                  <a:pt x="574495" y="319186"/>
                </a:lnTo>
                <a:cubicBezTo>
                  <a:pt x="609772" y="319186"/>
                  <a:pt x="638295" y="290586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772" y="0"/>
                  <a:pt x="574495" y="0"/>
                </a:cubicBezTo>
                <a:lnTo>
                  <a:pt x="63874" y="0"/>
                </a:lnTo>
                <a:cubicBezTo>
                  <a:pt x="28596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586"/>
                  <a:pt x="28596" y="319186"/>
                  <a:pt x="63874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" name="Freeform 3"/>
          <p:cNvSpPr/>
          <p:nvPr/>
        </p:nvSpPr>
        <p:spPr>
          <a:xfrm>
            <a:off x="5761597" y="4317514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95 w 638295"/>
              <a:gd name="connsiteY1" fmla="*/ 319187 h 319187"/>
              <a:gd name="connsiteX2" fmla="*/ 638295 w 638295"/>
              <a:gd name="connsiteY2" fmla="*/ 255379 h 319187"/>
              <a:gd name="connsiteX3" fmla="*/ 638295 w 638295"/>
              <a:gd name="connsiteY3" fmla="*/ 63882 h 319187"/>
              <a:gd name="connsiteX4" fmla="*/ 574495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82 h 319187"/>
              <a:gd name="connsiteX7" fmla="*/ 0 w 638295"/>
              <a:gd name="connsiteY7" fmla="*/ 255379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95" y="319187"/>
                </a:lnTo>
                <a:cubicBezTo>
                  <a:pt x="609698" y="319187"/>
                  <a:pt x="638295" y="290586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95" y="0"/>
                </a:cubicBezTo>
                <a:lnTo>
                  <a:pt x="63799" y="0"/>
                </a:lnTo>
                <a:cubicBezTo>
                  <a:pt x="28597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586"/>
                  <a:pt x="28597" y="319187"/>
                  <a:pt x="63799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" name="Freeform 3"/>
          <p:cNvSpPr/>
          <p:nvPr/>
        </p:nvSpPr>
        <p:spPr>
          <a:xfrm>
            <a:off x="9219005" y="4317515"/>
            <a:ext cx="638295" cy="319186"/>
          </a:xfrm>
          <a:custGeom>
            <a:avLst/>
            <a:gdLst>
              <a:gd name="connsiteX0" fmla="*/ 63799 w 638295"/>
              <a:gd name="connsiteY0" fmla="*/ 319186 h 319186"/>
              <a:gd name="connsiteX1" fmla="*/ 574420 w 638295"/>
              <a:gd name="connsiteY1" fmla="*/ 319186 h 319186"/>
              <a:gd name="connsiteX2" fmla="*/ 638295 w 638295"/>
              <a:gd name="connsiteY2" fmla="*/ 255379 h 319186"/>
              <a:gd name="connsiteX3" fmla="*/ 638295 w 638295"/>
              <a:gd name="connsiteY3" fmla="*/ 63882 h 319186"/>
              <a:gd name="connsiteX4" fmla="*/ 574420 w 638295"/>
              <a:gd name="connsiteY4" fmla="*/ 0 h 319186"/>
              <a:gd name="connsiteX5" fmla="*/ 63799 w 638295"/>
              <a:gd name="connsiteY5" fmla="*/ 0 h 319186"/>
              <a:gd name="connsiteX6" fmla="*/ 0 w 638295"/>
              <a:gd name="connsiteY6" fmla="*/ 63882 h 319186"/>
              <a:gd name="connsiteX7" fmla="*/ 0 w 638295"/>
              <a:gd name="connsiteY7" fmla="*/ 255379 h 319186"/>
              <a:gd name="connsiteX8" fmla="*/ 63799 w 638295"/>
              <a:gd name="connsiteY8" fmla="*/ 319186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6">
                <a:moveTo>
                  <a:pt x="63799" y="319186"/>
                </a:moveTo>
                <a:lnTo>
                  <a:pt x="574420" y="319186"/>
                </a:lnTo>
                <a:cubicBezTo>
                  <a:pt x="609698" y="319186"/>
                  <a:pt x="638295" y="290586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97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586"/>
                  <a:pt x="28597" y="319186"/>
                  <a:pt x="63799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4" name="Freeform 3"/>
          <p:cNvSpPr/>
          <p:nvPr/>
        </p:nvSpPr>
        <p:spPr>
          <a:xfrm>
            <a:off x="5772255" y="3958442"/>
            <a:ext cx="265953" cy="26598"/>
          </a:xfrm>
          <a:custGeom>
            <a:avLst/>
            <a:gdLst>
              <a:gd name="connsiteX0" fmla="*/ 0 w 265953"/>
              <a:gd name="connsiteY0" fmla="*/ 13299 h 26598"/>
              <a:gd name="connsiteX1" fmla="*/ 265953 w 265953"/>
              <a:gd name="connsiteY1" fmla="*/ 13299 h 265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265953" h="26598">
                <a:moveTo>
                  <a:pt x="0" y="13299"/>
                </a:moveTo>
                <a:lnTo>
                  <a:pt x="265953" y="13299"/>
                </a:lnTo>
              </a:path>
            </a:pathLst>
          </a:custGeom>
          <a:ln w="25400">
            <a:solidFill>
              <a:srgbClr val="A4DAF7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5" name="Freeform 3"/>
          <p:cNvSpPr/>
          <p:nvPr/>
        </p:nvSpPr>
        <p:spPr>
          <a:xfrm>
            <a:off x="5765905" y="5106955"/>
            <a:ext cx="4108403" cy="63370"/>
          </a:xfrm>
          <a:custGeom>
            <a:avLst/>
            <a:gdLst>
              <a:gd name="connsiteX0" fmla="*/ 6350 w 4108403"/>
              <a:gd name="connsiteY0" fmla="*/ 6350 h 63370"/>
              <a:gd name="connsiteX1" fmla="*/ 6350 w 4108403"/>
              <a:gd name="connsiteY1" fmla="*/ 31647 h 63370"/>
              <a:gd name="connsiteX2" fmla="*/ 31644 w 4108403"/>
              <a:gd name="connsiteY2" fmla="*/ 57020 h 63370"/>
              <a:gd name="connsiteX3" fmla="*/ 4076684 w 4108403"/>
              <a:gd name="connsiteY3" fmla="*/ 57020 h 63370"/>
              <a:gd name="connsiteX4" fmla="*/ 4102053 w 4108403"/>
              <a:gd name="connsiteY4" fmla="*/ 31648 h 63370"/>
              <a:gd name="connsiteX5" fmla="*/ 4102053 w 4108403"/>
              <a:gd name="connsiteY5" fmla="*/ 6350 h 6337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</a:cxnLst>
            <a:rect l="l" t="t" r="r" b="b"/>
            <a:pathLst>
              <a:path w="4108403" h="63370">
                <a:moveTo>
                  <a:pt x="6350" y="6350"/>
                </a:moveTo>
                <a:lnTo>
                  <a:pt x="6350" y="31647"/>
                </a:lnTo>
                <a:cubicBezTo>
                  <a:pt x="6350" y="45610"/>
                  <a:pt x="17683" y="57020"/>
                  <a:pt x="31644" y="57020"/>
                </a:cubicBezTo>
                <a:lnTo>
                  <a:pt x="4076684" y="57020"/>
                </a:lnTo>
                <a:cubicBezTo>
                  <a:pt x="4090719" y="57020"/>
                  <a:pt x="4102053" y="45610"/>
                  <a:pt x="4102053" y="31648"/>
                </a:cubicBezTo>
                <a:lnTo>
                  <a:pt x="4102053" y="6350"/>
                </a:lnTo>
              </a:path>
            </a:pathLst>
          </a:custGeom>
          <a:ln w="12700">
            <a:solidFill>
              <a:srgbClr val="6D7481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6" name="Freeform 3"/>
          <p:cNvSpPr/>
          <p:nvPr/>
        </p:nvSpPr>
        <p:spPr>
          <a:xfrm>
            <a:off x="6463692" y="5687804"/>
            <a:ext cx="638295" cy="319187"/>
          </a:xfrm>
          <a:custGeom>
            <a:avLst/>
            <a:gdLst>
              <a:gd name="connsiteX0" fmla="*/ 63874 w 638295"/>
              <a:gd name="connsiteY0" fmla="*/ 319187 h 319187"/>
              <a:gd name="connsiteX1" fmla="*/ 574495 w 638295"/>
              <a:gd name="connsiteY1" fmla="*/ 319187 h 319187"/>
              <a:gd name="connsiteX2" fmla="*/ 638295 w 638295"/>
              <a:gd name="connsiteY2" fmla="*/ 255349 h 319187"/>
              <a:gd name="connsiteX3" fmla="*/ 638295 w 638295"/>
              <a:gd name="connsiteY3" fmla="*/ 63837 h 319187"/>
              <a:gd name="connsiteX4" fmla="*/ 574495 w 638295"/>
              <a:gd name="connsiteY4" fmla="*/ 0 h 319187"/>
              <a:gd name="connsiteX5" fmla="*/ 63874 w 638295"/>
              <a:gd name="connsiteY5" fmla="*/ 0 h 319187"/>
              <a:gd name="connsiteX6" fmla="*/ 0 w 638295"/>
              <a:gd name="connsiteY6" fmla="*/ 63837 h 319187"/>
              <a:gd name="connsiteX7" fmla="*/ 0 w 638295"/>
              <a:gd name="connsiteY7" fmla="*/ 255349 h 319187"/>
              <a:gd name="connsiteX8" fmla="*/ 63874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874" y="319187"/>
                </a:moveTo>
                <a:lnTo>
                  <a:pt x="574495" y="319187"/>
                </a:lnTo>
                <a:cubicBezTo>
                  <a:pt x="609773" y="319187"/>
                  <a:pt x="638295" y="290601"/>
                  <a:pt x="638295" y="255349"/>
                </a:cubicBezTo>
                <a:lnTo>
                  <a:pt x="638295" y="63837"/>
                </a:lnTo>
                <a:cubicBezTo>
                  <a:pt x="638295" y="28578"/>
                  <a:pt x="609773" y="0"/>
                  <a:pt x="574495" y="0"/>
                </a:cubicBezTo>
                <a:lnTo>
                  <a:pt x="63874" y="0"/>
                </a:lnTo>
                <a:cubicBezTo>
                  <a:pt x="28597" y="0"/>
                  <a:pt x="0" y="28578"/>
                  <a:pt x="0" y="63837"/>
                </a:cubicBezTo>
                <a:lnTo>
                  <a:pt x="0" y="255349"/>
                </a:lnTo>
                <a:cubicBezTo>
                  <a:pt x="0" y="290601"/>
                  <a:pt x="28597" y="319187"/>
                  <a:pt x="63874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7" name="Freeform 3"/>
          <p:cNvSpPr/>
          <p:nvPr/>
        </p:nvSpPr>
        <p:spPr>
          <a:xfrm>
            <a:off x="7155204" y="5687804"/>
            <a:ext cx="1329732" cy="319187"/>
          </a:xfrm>
          <a:custGeom>
            <a:avLst/>
            <a:gdLst>
              <a:gd name="connsiteX0" fmla="*/ 133002 w 1329732"/>
              <a:gd name="connsiteY0" fmla="*/ 319187 h 319187"/>
              <a:gd name="connsiteX1" fmla="*/ 1196803 w 1329732"/>
              <a:gd name="connsiteY1" fmla="*/ 319187 h 319187"/>
              <a:gd name="connsiteX2" fmla="*/ 1329732 w 1329732"/>
              <a:gd name="connsiteY2" fmla="*/ 186189 h 319187"/>
              <a:gd name="connsiteX3" fmla="*/ 1329732 w 1329732"/>
              <a:gd name="connsiteY3" fmla="*/ 132989 h 319187"/>
              <a:gd name="connsiteX4" fmla="*/ 1196803 w 1329732"/>
              <a:gd name="connsiteY4" fmla="*/ 0 h 319187"/>
              <a:gd name="connsiteX5" fmla="*/ 133002 w 1329732"/>
              <a:gd name="connsiteY5" fmla="*/ 0 h 319187"/>
              <a:gd name="connsiteX6" fmla="*/ 0 w 1329732"/>
              <a:gd name="connsiteY6" fmla="*/ 132989 h 319187"/>
              <a:gd name="connsiteX7" fmla="*/ 0 w 1329732"/>
              <a:gd name="connsiteY7" fmla="*/ 186189 h 319187"/>
              <a:gd name="connsiteX8" fmla="*/ 133002 w 1329732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29732" h="319187">
                <a:moveTo>
                  <a:pt x="133002" y="319187"/>
                </a:moveTo>
                <a:lnTo>
                  <a:pt x="1196803" y="319187"/>
                </a:lnTo>
                <a:cubicBezTo>
                  <a:pt x="1270210" y="319187"/>
                  <a:pt x="1329732" y="259643"/>
                  <a:pt x="1329732" y="186189"/>
                </a:cubicBezTo>
                <a:lnTo>
                  <a:pt x="1329732" y="132989"/>
                </a:lnTo>
                <a:cubicBezTo>
                  <a:pt x="1329732" y="59543"/>
                  <a:pt x="1270210" y="0"/>
                  <a:pt x="1196803" y="0"/>
                </a:cubicBezTo>
                <a:lnTo>
                  <a:pt x="133002" y="0"/>
                </a:lnTo>
                <a:cubicBezTo>
                  <a:pt x="59521" y="0"/>
                  <a:pt x="0" y="59543"/>
                  <a:pt x="0" y="132989"/>
                </a:cubicBezTo>
                <a:lnTo>
                  <a:pt x="0" y="186189"/>
                </a:lnTo>
                <a:cubicBezTo>
                  <a:pt x="0" y="259643"/>
                  <a:pt x="59521" y="319187"/>
                  <a:pt x="133002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8" name="Freeform 3"/>
          <p:cNvSpPr/>
          <p:nvPr/>
        </p:nvSpPr>
        <p:spPr>
          <a:xfrm>
            <a:off x="8538152" y="5687804"/>
            <a:ext cx="1329807" cy="319187"/>
          </a:xfrm>
          <a:custGeom>
            <a:avLst/>
            <a:gdLst>
              <a:gd name="connsiteX0" fmla="*/ 133002 w 1329807"/>
              <a:gd name="connsiteY0" fmla="*/ 319187 h 319187"/>
              <a:gd name="connsiteX1" fmla="*/ 1196803 w 1329807"/>
              <a:gd name="connsiteY1" fmla="*/ 319187 h 319187"/>
              <a:gd name="connsiteX2" fmla="*/ 1329807 w 1329807"/>
              <a:gd name="connsiteY2" fmla="*/ 186190 h 319187"/>
              <a:gd name="connsiteX3" fmla="*/ 1329807 w 1329807"/>
              <a:gd name="connsiteY3" fmla="*/ 132989 h 319187"/>
              <a:gd name="connsiteX4" fmla="*/ 1196803 w 1329807"/>
              <a:gd name="connsiteY4" fmla="*/ 0 h 319187"/>
              <a:gd name="connsiteX5" fmla="*/ 133002 w 1329807"/>
              <a:gd name="connsiteY5" fmla="*/ 0 h 319187"/>
              <a:gd name="connsiteX6" fmla="*/ 0 w 1329807"/>
              <a:gd name="connsiteY6" fmla="*/ 132989 h 319187"/>
              <a:gd name="connsiteX7" fmla="*/ 0 w 1329807"/>
              <a:gd name="connsiteY7" fmla="*/ 186189 h 319187"/>
              <a:gd name="connsiteX8" fmla="*/ 133002 w 1329807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29807" h="319187">
                <a:moveTo>
                  <a:pt x="133002" y="319187"/>
                </a:moveTo>
                <a:lnTo>
                  <a:pt x="1196803" y="319187"/>
                </a:lnTo>
                <a:cubicBezTo>
                  <a:pt x="1270210" y="319187"/>
                  <a:pt x="1329807" y="259643"/>
                  <a:pt x="1329807" y="186190"/>
                </a:cubicBezTo>
                <a:lnTo>
                  <a:pt x="1329807" y="132989"/>
                </a:lnTo>
                <a:cubicBezTo>
                  <a:pt x="1329807" y="59543"/>
                  <a:pt x="1270210" y="0"/>
                  <a:pt x="1196803" y="0"/>
                </a:cubicBezTo>
                <a:lnTo>
                  <a:pt x="133002" y="0"/>
                </a:lnTo>
                <a:cubicBezTo>
                  <a:pt x="59521" y="0"/>
                  <a:pt x="0" y="59543"/>
                  <a:pt x="0" y="132989"/>
                </a:cubicBezTo>
                <a:lnTo>
                  <a:pt x="0" y="186189"/>
                </a:lnTo>
                <a:cubicBezTo>
                  <a:pt x="0" y="259643"/>
                  <a:pt x="59521" y="319187"/>
                  <a:pt x="133002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9" name="Freeform 3"/>
          <p:cNvSpPr/>
          <p:nvPr/>
        </p:nvSpPr>
        <p:spPr>
          <a:xfrm>
            <a:off x="5772255" y="5687804"/>
            <a:ext cx="1329732" cy="319187"/>
          </a:xfrm>
          <a:custGeom>
            <a:avLst/>
            <a:gdLst>
              <a:gd name="connsiteX0" fmla="*/ 132928 w 1329732"/>
              <a:gd name="connsiteY0" fmla="*/ 319187 h 319187"/>
              <a:gd name="connsiteX1" fmla="*/ 1196804 w 1329732"/>
              <a:gd name="connsiteY1" fmla="*/ 319187 h 319187"/>
              <a:gd name="connsiteX2" fmla="*/ 1329731 w 1329732"/>
              <a:gd name="connsiteY2" fmla="*/ 186189 h 319187"/>
              <a:gd name="connsiteX3" fmla="*/ 1329731 w 1329732"/>
              <a:gd name="connsiteY3" fmla="*/ 132989 h 319187"/>
              <a:gd name="connsiteX4" fmla="*/ 1196804 w 1329732"/>
              <a:gd name="connsiteY4" fmla="*/ 0 h 319187"/>
              <a:gd name="connsiteX5" fmla="*/ 132928 w 1329732"/>
              <a:gd name="connsiteY5" fmla="*/ 0 h 319187"/>
              <a:gd name="connsiteX6" fmla="*/ 0 w 1329732"/>
              <a:gd name="connsiteY6" fmla="*/ 132989 h 319187"/>
              <a:gd name="connsiteX7" fmla="*/ 0 w 1329732"/>
              <a:gd name="connsiteY7" fmla="*/ 186189 h 319187"/>
              <a:gd name="connsiteX8" fmla="*/ 132928 w 1329732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29732" h="319187">
                <a:moveTo>
                  <a:pt x="132928" y="319187"/>
                </a:moveTo>
                <a:lnTo>
                  <a:pt x="1196804" y="319187"/>
                </a:lnTo>
                <a:cubicBezTo>
                  <a:pt x="1270210" y="319187"/>
                  <a:pt x="1329731" y="259643"/>
                  <a:pt x="1329731" y="186189"/>
                </a:cubicBezTo>
                <a:lnTo>
                  <a:pt x="1329731" y="132989"/>
                </a:lnTo>
                <a:cubicBezTo>
                  <a:pt x="1329731" y="59543"/>
                  <a:pt x="1270210" y="0"/>
                  <a:pt x="1196804" y="0"/>
                </a:cubicBezTo>
                <a:lnTo>
                  <a:pt x="132928" y="0"/>
                </a:lnTo>
                <a:cubicBezTo>
                  <a:pt x="59521" y="0"/>
                  <a:pt x="0" y="59543"/>
                  <a:pt x="0" y="132989"/>
                </a:cubicBezTo>
                <a:lnTo>
                  <a:pt x="0" y="186189"/>
                </a:lnTo>
                <a:cubicBezTo>
                  <a:pt x="0" y="259643"/>
                  <a:pt x="59521" y="319187"/>
                  <a:pt x="132928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0" name="Freeform 3"/>
          <p:cNvSpPr/>
          <p:nvPr/>
        </p:nvSpPr>
        <p:spPr>
          <a:xfrm>
            <a:off x="5782839" y="5315437"/>
            <a:ext cx="265953" cy="26598"/>
          </a:xfrm>
          <a:custGeom>
            <a:avLst/>
            <a:gdLst>
              <a:gd name="connsiteX0" fmla="*/ 0 w 265953"/>
              <a:gd name="connsiteY0" fmla="*/ 13299 h 26598"/>
              <a:gd name="connsiteX1" fmla="*/ 265953 w 265953"/>
              <a:gd name="connsiteY1" fmla="*/ 13299 h 265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265953" h="26598">
                <a:moveTo>
                  <a:pt x="0" y="13299"/>
                </a:moveTo>
                <a:lnTo>
                  <a:pt x="265953" y="13299"/>
                </a:lnTo>
              </a:path>
            </a:pathLst>
          </a:custGeom>
          <a:ln w="25400">
            <a:solidFill>
              <a:srgbClr val="A4DAF7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1" name="Freeform 3"/>
          <p:cNvSpPr/>
          <p:nvPr/>
        </p:nvSpPr>
        <p:spPr>
          <a:xfrm>
            <a:off x="5766926" y="3234966"/>
            <a:ext cx="4095703" cy="319187"/>
          </a:xfrm>
          <a:custGeom>
            <a:avLst/>
            <a:gdLst>
              <a:gd name="connsiteX0" fmla="*/ 159573 w 4095703"/>
              <a:gd name="connsiteY0" fmla="*/ 0 h 319187"/>
              <a:gd name="connsiteX1" fmla="*/ 3936129 w 4095703"/>
              <a:gd name="connsiteY1" fmla="*/ 0 h 319187"/>
              <a:gd name="connsiteX2" fmla="*/ 4095703 w 4095703"/>
              <a:gd name="connsiteY2" fmla="*/ 159593 h 319187"/>
              <a:gd name="connsiteX3" fmla="*/ 3936129 w 4095703"/>
              <a:gd name="connsiteY3" fmla="*/ 319187 h 319187"/>
              <a:gd name="connsiteX4" fmla="*/ 159573 w 4095703"/>
              <a:gd name="connsiteY4" fmla="*/ 319187 h 319187"/>
              <a:gd name="connsiteX5" fmla="*/ 0 w 4095703"/>
              <a:gd name="connsiteY5" fmla="*/ 159593 h 319187"/>
              <a:gd name="connsiteX6" fmla="*/ 159573 w 4095703"/>
              <a:gd name="connsiteY6" fmla="*/ 0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4095703" h="319187">
                <a:moveTo>
                  <a:pt x="159573" y="0"/>
                </a:moveTo>
                <a:lnTo>
                  <a:pt x="3936129" y="0"/>
                </a:lnTo>
                <a:cubicBezTo>
                  <a:pt x="4024247" y="0"/>
                  <a:pt x="4095703" y="71464"/>
                  <a:pt x="4095703" y="159593"/>
                </a:cubicBezTo>
                <a:cubicBezTo>
                  <a:pt x="4095703" y="247722"/>
                  <a:pt x="4024247" y="319187"/>
                  <a:pt x="3936129" y="319187"/>
                </a:cubicBezTo>
                <a:lnTo>
                  <a:pt x="159573" y="319187"/>
                </a:lnTo>
                <a:cubicBezTo>
                  <a:pt x="71455" y="319187"/>
                  <a:pt x="0" y="247722"/>
                  <a:pt x="0" y="159593"/>
                </a:cubicBezTo>
                <a:cubicBezTo>
                  <a:pt x="0" y="71464"/>
                  <a:pt x="71455" y="0"/>
                  <a:pt x="159573" y="0"/>
                </a:cubicBezTo>
              </a:path>
            </a:pathLst>
          </a:custGeom>
          <a:solidFill>
            <a:srgbClr val="A4DAF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2" name="Freeform 3"/>
          <p:cNvSpPr/>
          <p:nvPr/>
        </p:nvSpPr>
        <p:spPr>
          <a:xfrm>
            <a:off x="5777584" y="2479537"/>
            <a:ext cx="265953" cy="26598"/>
          </a:xfrm>
          <a:custGeom>
            <a:avLst/>
            <a:gdLst>
              <a:gd name="connsiteX0" fmla="*/ 0 w 265953"/>
              <a:gd name="connsiteY0" fmla="*/ 13299 h 26598"/>
              <a:gd name="connsiteX1" fmla="*/ 265953 w 265953"/>
              <a:gd name="connsiteY1" fmla="*/ 13299 h 265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265953" h="26598">
                <a:moveTo>
                  <a:pt x="0" y="13299"/>
                </a:moveTo>
                <a:lnTo>
                  <a:pt x="265953" y="13299"/>
                </a:lnTo>
              </a:path>
            </a:pathLst>
          </a:custGeom>
          <a:ln w="25400">
            <a:solidFill>
              <a:srgbClr val="A4DAF7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3" name="Freeform 3"/>
          <p:cNvSpPr/>
          <p:nvPr/>
        </p:nvSpPr>
        <p:spPr>
          <a:xfrm>
            <a:off x="5771234" y="3619643"/>
            <a:ext cx="4108328" cy="37998"/>
          </a:xfrm>
          <a:custGeom>
            <a:avLst/>
            <a:gdLst>
              <a:gd name="connsiteX0" fmla="*/ 6350 w 4108328"/>
              <a:gd name="connsiteY0" fmla="*/ 6350 h 37998"/>
              <a:gd name="connsiteX1" fmla="*/ 6350 w 4108328"/>
              <a:gd name="connsiteY1" fmla="*/ 18961 h 37998"/>
              <a:gd name="connsiteX2" fmla="*/ 18959 w 4108328"/>
              <a:gd name="connsiteY2" fmla="*/ 31647 h 37998"/>
              <a:gd name="connsiteX3" fmla="*/ 4089368 w 4108328"/>
              <a:gd name="connsiteY3" fmla="*/ 31648 h 37998"/>
              <a:gd name="connsiteX4" fmla="*/ 4101978 w 4108328"/>
              <a:gd name="connsiteY4" fmla="*/ 18961 h 37998"/>
              <a:gd name="connsiteX5" fmla="*/ 4101978 w 4108328"/>
              <a:gd name="connsiteY5" fmla="*/ 6350 h 379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</a:cxnLst>
            <a:rect l="l" t="t" r="r" b="b"/>
            <a:pathLst>
              <a:path w="4108328" h="37998">
                <a:moveTo>
                  <a:pt x="6350" y="6350"/>
                </a:moveTo>
                <a:lnTo>
                  <a:pt x="6350" y="18961"/>
                </a:lnTo>
                <a:cubicBezTo>
                  <a:pt x="6350" y="26017"/>
                  <a:pt x="11979" y="31647"/>
                  <a:pt x="18959" y="31647"/>
                </a:cubicBezTo>
                <a:lnTo>
                  <a:pt x="4089368" y="31648"/>
                </a:lnTo>
                <a:cubicBezTo>
                  <a:pt x="4096348" y="31648"/>
                  <a:pt x="4101978" y="26017"/>
                  <a:pt x="4101978" y="18961"/>
                </a:cubicBezTo>
                <a:lnTo>
                  <a:pt x="4101978" y="6350"/>
                </a:lnTo>
              </a:path>
            </a:pathLst>
          </a:custGeom>
          <a:ln w="12700">
            <a:solidFill>
              <a:srgbClr val="6D7481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4" name="Freeform 3"/>
          <p:cNvSpPr/>
          <p:nvPr/>
        </p:nvSpPr>
        <p:spPr>
          <a:xfrm>
            <a:off x="6453109" y="2862556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20 w 638295"/>
              <a:gd name="connsiteY1" fmla="*/ 319187 h 319187"/>
              <a:gd name="connsiteX2" fmla="*/ 638295 w 638295"/>
              <a:gd name="connsiteY2" fmla="*/ 255379 h 319187"/>
              <a:gd name="connsiteX3" fmla="*/ 638295 w 638295"/>
              <a:gd name="connsiteY3" fmla="*/ 63882 h 319187"/>
              <a:gd name="connsiteX4" fmla="*/ 574420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82 h 319187"/>
              <a:gd name="connsiteX7" fmla="*/ 0 w 638295"/>
              <a:gd name="connsiteY7" fmla="*/ 255379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20" y="319187"/>
                </a:lnTo>
                <a:cubicBezTo>
                  <a:pt x="609698" y="319187"/>
                  <a:pt x="638295" y="290661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22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661"/>
                  <a:pt x="28522" y="319187"/>
                  <a:pt x="63799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5" name="Freeform 3"/>
          <p:cNvSpPr/>
          <p:nvPr/>
        </p:nvSpPr>
        <p:spPr>
          <a:xfrm>
            <a:off x="7144546" y="2862556"/>
            <a:ext cx="638295" cy="319186"/>
          </a:xfrm>
          <a:custGeom>
            <a:avLst/>
            <a:gdLst>
              <a:gd name="connsiteX0" fmla="*/ 63874 w 638295"/>
              <a:gd name="connsiteY0" fmla="*/ 319186 h 319186"/>
              <a:gd name="connsiteX1" fmla="*/ 574495 w 638295"/>
              <a:gd name="connsiteY1" fmla="*/ 319186 h 319186"/>
              <a:gd name="connsiteX2" fmla="*/ 638295 w 638295"/>
              <a:gd name="connsiteY2" fmla="*/ 255379 h 319186"/>
              <a:gd name="connsiteX3" fmla="*/ 638295 w 638295"/>
              <a:gd name="connsiteY3" fmla="*/ 63882 h 319186"/>
              <a:gd name="connsiteX4" fmla="*/ 574495 w 638295"/>
              <a:gd name="connsiteY4" fmla="*/ 0 h 319186"/>
              <a:gd name="connsiteX5" fmla="*/ 63874 w 638295"/>
              <a:gd name="connsiteY5" fmla="*/ 0 h 319186"/>
              <a:gd name="connsiteX6" fmla="*/ 0 w 638295"/>
              <a:gd name="connsiteY6" fmla="*/ 63882 h 319186"/>
              <a:gd name="connsiteX7" fmla="*/ 0 w 638295"/>
              <a:gd name="connsiteY7" fmla="*/ 255379 h 319186"/>
              <a:gd name="connsiteX8" fmla="*/ 63874 w 638295"/>
              <a:gd name="connsiteY8" fmla="*/ 319186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6">
                <a:moveTo>
                  <a:pt x="63874" y="319186"/>
                </a:moveTo>
                <a:lnTo>
                  <a:pt x="574495" y="319186"/>
                </a:lnTo>
                <a:cubicBezTo>
                  <a:pt x="609697" y="319186"/>
                  <a:pt x="638295" y="290661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7" y="0"/>
                  <a:pt x="574495" y="0"/>
                </a:cubicBezTo>
                <a:lnTo>
                  <a:pt x="63874" y="0"/>
                </a:lnTo>
                <a:cubicBezTo>
                  <a:pt x="28596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661"/>
                  <a:pt x="28596" y="319186"/>
                  <a:pt x="63874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6" name="Freeform 3"/>
          <p:cNvSpPr/>
          <p:nvPr/>
        </p:nvSpPr>
        <p:spPr>
          <a:xfrm>
            <a:off x="7836057" y="2862556"/>
            <a:ext cx="638295" cy="319186"/>
          </a:xfrm>
          <a:custGeom>
            <a:avLst/>
            <a:gdLst>
              <a:gd name="connsiteX0" fmla="*/ 63799 w 638295"/>
              <a:gd name="connsiteY0" fmla="*/ 319186 h 319186"/>
              <a:gd name="connsiteX1" fmla="*/ 574420 w 638295"/>
              <a:gd name="connsiteY1" fmla="*/ 319186 h 319186"/>
              <a:gd name="connsiteX2" fmla="*/ 638295 w 638295"/>
              <a:gd name="connsiteY2" fmla="*/ 255379 h 319186"/>
              <a:gd name="connsiteX3" fmla="*/ 638295 w 638295"/>
              <a:gd name="connsiteY3" fmla="*/ 63882 h 319186"/>
              <a:gd name="connsiteX4" fmla="*/ 574420 w 638295"/>
              <a:gd name="connsiteY4" fmla="*/ 0 h 319186"/>
              <a:gd name="connsiteX5" fmla="*/ 63799 w 638295"/>
              <a:gd name="connsiteY5" fmla="*/ 0 h 319186"/>
              <a:gd name="connsiteX6" fmla="*/ 0 w 638295"/>
              <a:gd name="connsiteY6" fmla="*/ 63882 h 319186"/>
              <a:gd name="connsiteX7" fmla="*/ 0 w 638295"/>
              <a:gd name="connsiteY7" fmla="*/ 255379 h 319186"/>
              <a:gd name="connsiteX8" fmla="*/ 63799 w 638295"/>
              <a:gd name="connsiteY8" fmla="*/ 319186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6">
                <a:moveTo>
                  <a:pt x="63799" y="319186"/>
                </a:moveTo>
                <a:lnTo>
                  <a:pt x="574420" y="319186"/>
                </a:lnTo>
                <a:cubicBezTo>
                  <a:pt x="609698" y="319186"/>
                  <a:pt x="638295" y="290661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22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661"/>
                  <a:pt x="28522" y="319186"/>
                  <a:pt x="63799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7" name="Freeform 3"/>
          <p:cNvSpPr/>
          <p:nvPr/>
        </p:nvSpPr>
        <p:spPr>
          <a:xfrm>
            <a:off x="8527494" y="2862556"/>
            <a:ext cx="638295" cy="319186"/>
          </a:xfrm>
          <a:custGeom>
            <a:avLst/>
            <a:gdLst>
              <a:gd name="connsiteX0" fmla="*/ 63874 w 638295"/>
              <a:gd name="connsiteY0" fmla="*/ 319186 h 319186"/>
              <a:gd name="connsiteX1" fmla="*/ 574495 w 638295"/>
              <a:gd name="connsiteY1" fmla="*/ 319186 h 319186"/>
              <a:gd name="connsiteX2" fmla="*/ 638295 w 638295"/>
              <a:gd name="connsiteY2" fmla="*/ 255379 h 319186"/>
              <a:gd name="connsiteX3" fmla="*/ 638295 w 638295"/>
              <a:gd name="connsiteY3" fmla="*/ 63882 h 319186"/>
              <a:gd name="connsiteX4" fmla="*/ 574495 w 638295"/>
              <a:gd name="connsiteY4" fmla="*/ 0 h 319186"/>
              <a:gd name="connsiteX5" fmla="*/ 63874 w 638295"/>
              <a:gd name="connsiteY5" fmla="*/ 0 h 319186"/>
              <a:gd name="connsiteX6" fmla="*/ 0 w 638295"/>
              <a:gd name="connsiteY6" fmla="*/ 63882 h 319186"/>
              <a:gd name="connsiteX7" fmla="*/ 0 w 638295"/>
              <a:gd name="connsiteY7" fmla="*/ 255379 h 319186"/>
              <a:gd name="connsiteX8" fmla="*/ 63874 w 638295"/>
              <a:gd name="connsiteY8" fmla="*/ 319186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6">
                <a:moveTo>
                  <a:pt x="63874" y="319186"/>
                </a:moveTo>
                <a:lnTo>
                  <a:pt x="574495" y="319186"/>
                </a:lnTo>
                <a:cubicBezTo>
                  <a:pt x="609772" y="319186"/>
                  <a:pt x="638295" y="290661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772" y="0"/>
                  <a:pt x="574495" y="0"/>
                </a:cubicBezTo>
                <a:lnTo>
                  <a:pt x="63874" y="0"/>
                </a:lnTo>
                <a:cubicBezTo>
                  <a:pt x="28596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661"/>
                  <a:pt x="28596" y="319186"/>
                  <a:pt x="63874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8" name="Freeform 3"/>
          <p:cNvSpPr/>
          <p:nvPr/>
        </p:nvSpPr>
        <p:spPr>
          <a:xfrm>
            <a:off x="5761597" y="2862556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95 w 638295"/>
              <a:gd name="connsiteY1" fmla="*/ 319187 h 319187"/>
              <a:gd name="connsiteX2" fmla="*/ 638295 w 638295"/>
              <a:gd name="connsiteY2" fmla="*/ 255379 h 319187"/>
              <a:gd name="connsiteX3" fmla="*/ 638295 w 638295"/>
              <a:gd name="connsiteY3" fmla="*/ 63882 h 319187"/>
              <a:gd name="connsiteX4" fmla="*/ 574495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82 h 319187"/>
              <a:gd name="connsiteX7" fmla="*/ 0 w 638295"/>
              <a:gd name="connsiteY7" fmla="*/ 255379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95" y="319187"/>
                </a:lnTo>
                <a:cubicBezTo>
                  <a:pt x="609698" y="319187"/>
                  <a:pt x="638295" y="290661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95" y="0"/>
                </a:cubicBezTo>
                <a:lnTo>
                  <a:pt x="63799" y="0"/>
                </a:lnTo>
                <a:cubicBezTo>
                  <a:pt x="28597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661"/>
                  <a:pt x="28597" y="319187"/>
                  <a:pt x="63799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9" name="Freeform 3"/>
          <p:cNvSpPr/>
          <p:nvPr/>
        </p:nvSpPr>
        <p:spPr>
          <a:xfrm>
            <a:off x="9219005" y="2862556"/>
            <a:ext cx="638295" cy="319186"/>
          </a:xfrm>
          <a:custGeom>
            <a:avLst/>
            <a:gdLst>
              <a:gd name="connsiteX0" fmla="*/ 63799 w 638295"/>
              <a:gd name="connsiteY0" fmla="*/ 319186 h 319186"/>
              <a:gd name="connsiteX1" fmla="*/ 574420 w 638295"/>
              <a:gd name="connsiteY1" fmla="*/ 319187 h 319186"/>
              <a:gd name="connsiteX2" fmla="*/ 638295 w 638295"/>
              <a:gd name="connsiteY2" fmla="*/ 255379 h 319186"/>
              <a:gd name="connsiteX3" fmla="*/ 638295 w 638295"/>
              <a:gd name="connsiteY3" fmla="*/ 63882 h 319186"/>
              <a:gd name="connsiteX4" fmla="*/ 574420 w 638295"/>
              <a:gd name="connsiteY4" fmla="*/ 0 h 319186"/>
              <a:gd name="connsiteX5" fmla="*/ 63799 w 638295"/>
              <a:gd name="connsiteY5" fmla="*/ 0 h 319186"/>
              <a:gd name="connsiteX6" fmla="*/ 0 w 638295"/>
              <a:gd name="connsiteY6" fmla="*/ 63882 h 319186"/>
              <a:gd name="connsiteX7" fmla="*/ 0 w 638295"/>
              <a:gd name="connsiteY7" fmla="*/ 255379 h 319186"/>
              <a:gd name="connsiteX8" fmla="*/ 63799 w 638295"/>
              <a:gd name="connsiteY8" fmla="*/ 319186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6">
                <a:moveTo>
                  <a:pt x="63799" y="319186"/>
                </a:moveTo>
                <a:lnTo>
                  <a:pt x="574420" y="319187"/>
                </a:lnTo>
                <a:cubicBezTo>
                  <a:pt x="609698" y="319187"/>
                  <a:pt x="638295" y="290661"/>
                  <a:pt x="638295" y="255379"/>
                </a:cubicBezTo>
                <a:lnTo>
                  <a:pt x="638295" y="63882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97" y="0"/>
                  <a:pt x="0" y="28600"/>
                  <a:pt x="0" y="63882"/>
                </a:cubicBezTo>
                <a:lnTo>
                  <a:pt x="0" y="255379"/>
                </a:lnTo>
                <a:cubicBezTo>
                  <a:pt x="0" y="290661"/>
                  <a:pt x="28597" y="319186"/>
                  <a:pt x="63799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0" name="Freeform 3"/>
          <p:cNvSpPr/>
          <p:nvPr/>
        </p:nvSpPr>
        <p:spPr>
          <a:xfrm>
            <a:off x="7155204" y="1724158"/>
            <a:ext cx="1329732" cy="319186"/>
          </a:xfrm>
          <a:custGeom>
            <a:avLst/>
            <a:gdLst>
              <a:gd name="connsiteX0" fmla="*/ 133002 w 1329732"/>
              <a:gd name="connsiteY0" fmla="*/ 319186 h 319186"/>
              <a:gd name="connsiteX1" fmla="*/ 1196803 w 1329732"/>
              <a:gd name="connsiteY1" fmla="*/ 319186 h 319186"/>
              <a:gd name="connsiteX2" fmla="*/ 1329732 w 1329732"/>
              <a:gd name="connsiteY2" fmla="*/ 186167 h 319186"/>
              <a:gd name="connsiteX3" fmla="*/ 1329732 w 1329732"/>
              <a:gd name="connsiteY3" fmla="*/ 133019 h 319186"/>
              <a:gd name="connsiteX4" fmla="*/ 1196803 w 1329732"/>
              <a:gd name="connsiteY4" fmla="*/ 0 h 319186"/>
              <a:gd name="connsiteX5" fmla="*/ 133002 w 1329732"/>
              <a:gd name="connsiteY5" fmla="*/ 0 h 319186"/>
              <a:gd name="connsiteX6" fmla="*/ 0 w 1329732"/>
              <a:gd name="connsiteY6" fmla="*/ 133019 h 319186"/>
              <a:gd name="connsiteX7" fmla="*/ 0 w 1329732"/>
              <a:gd name="connsiteY7" fmla="*/ 186167 h 319186"/>
              <a:gd name="connsiteX8" fmla="*/ 133002 w 1329732"/>
              <a:gd name="connsiteY8" fmla="*/ 319186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29732" h="319186">
                <a:moveTo>
                  <a:pt x="133002" y="319186"/>
                </a:moveTo>
                <a:lnTo>
                  <a:pt x="1196803" y="319186"/>
                </a:lnTo>
                <a:cubicBezTo>
                  <a:pt x="1270210" y="319186"/>
                  <a:pt x="1329732" y="259658"/>
                  <a:pt x="1329732" y="186167"/>
                </a:cubicBezTo>
                <a:lnTo>
                  <a:pt x="1329732" y="133019"/>
                </a:lnTo>
                <a:cubicBezTo>
                  <a:pt x="1329732" y="59528"/>
                  <a:pt x="1270210" y="0"/>
                  <a:pt x="1196803" y="0"/>
                </a:cubicBezTo>
                <a:lnTo>
                  <a:pt x="133002" y="0"/>
                </a:lnTo>
                <a:cubicBezTo>
                  <a:pt x="59521" y="0"/>
                  <a:pt x="0" y="59528"/>
                  <a:pt x="0" y="133019"/>
                </a:cubicBezTo>
                <a:lnTo>
                  <a:pt x="0" y="186167"/>
                </a:lnTo>
                <a:cubicBezTo>
                  <a:pt x="0" y="259658"/>
                  <a:pt x="59521" y="319186"/>
                  <a:pt x="133002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1" name="Freeform 3"/>
          <p:cNvSpPr/>
          <p:nvPr/>
        </p:nvSpPr>
        <p:spPr>
          <a:xfrm>
            <a:off x="8538152" y="1724158"/>
            <a:ext cx="1329807" cy="319187"/>
          </a:xfrm>
          <a:custGeom>
            <a:avLst/>
            <a:gdLst>
              <a:gd name="connsiteX0" fmla="*/ 133002 w 1329807"/>
              <a:gd name="connsiteY0" fmla="*/ 319186 h 319187"/>
              <a:gd name="connsiteX1" fmla="*/ 1196803 w 1329807"/>
              <a:gd name="connsiteY1" fmla="*/ 319187 h 319187"/>
              <a:gd name="connsiteX2" fmla="*/ 1329807 w 1329807"/>
              <a:gd name="connsiteY2" fmla="*/ 186167 h 319187"/>
              <a:gd name="connsiteX3" fmla="*/ 1329807 w 1329807"/>
              <a:gd name="connsiteY3" fmla="*/ 133019 h 319187"/>
              <a:gd name="connsiteX4" fmla="*/ 1196803 w 1329807"/>
              <a:gd name="connsiteY4" fmla="*/ 0 h 319187"/>
              <a:gd name="connsiteX5" fmla="*/ 133002 w 1329807"/>
              <a:gd name="connsiteY5" fmla="*/ 0 h 319187"/>
              <a:gd name="connsiteX6" fmla="*/ 0 w 1329807"/>
              <a:gd name="connsiteY6" fmla="*/ 133019 h 319187"/>
              <a:gd name="connsiteX7" fmla="*/ 0 w 1329807"/>
              <a:gd name="connsiteY7" fmla="*/ 186167 h 319187"/>
              <a:gd name="connsiteX8" fmla="*/ 133002 w 1329807"/>
              <a:gd name="connsiteY8" fmla="*/ 319186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29807" h="319187">
                <a:moveTo>
                  <a:pt x="133002" y="319186"/>
                </a:moveTo>
                <a:lnTo>
                  <a:pt x="1196803" y="319187"/>
                </a:lnTo>
                <a:cubicBezTo>
                  <a:pt x="1270210" y="319187"/>
                  <a:pt x="1329807" y="259658"/>
                  <a:pt x="1329807" y="186167"/>
                </a:cubicBezTo>
                <a:lnTo>
                  <a:pt x="1329807" y="133019"/>
                </a:lnTo>
                <a:cubicBezTo>
                  <a:pt x="1329807" y="59528"/>
                  <a:pt x="1270210" y="0"/>
                  <a:pt x="1196803" y="0"/>
                </a:cubicBezTo>
                <a:lnTo>
                  <a:pt x="133002" y="0"/>
                </a:lnTo>
                <a:cubicBezTo>
                  <a:pt x="59521" y="0"/>
                  <a:pt x="0" y="59528"/>
                  <a:pt x="0" y="133019"/>
                </a:cubicBezTo>
                <a:lnTo>
                  <a:pt x="0" y="186167"/>
                </a:lnTo>
                <a:cubicBezTo>
                  <a:pt x="0" y="259658"/>
                  <a:pt x="59521" y="319186"/>
                  <a:pt x="133002" y="319186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24" name="Freeform 3"/>
          <p:cNvSpPr/>
          <p:nvPr/>
        </p:nvSpPr>
        <p:spPr>
          <a:xfrm>
            <a:off x="5772255" y="1724158"/>
            <a:ext cx="1329732" cy="319187"/>
          </a:xfrm>
          <a:custGeom>
            <a:avLst/>
            <a:gdLst>
              <a:gd name="connsiteX0" fmla="*/ 132928 w 1329732"/>
              <a:gd name="connsiteY0" fmla="*/ 319187 h 319187"/>
              <a:gd name="connsiteX1" fmla="*/ 1196804 w 1329732"/>
              <a:gd name="connsiteY1" fmla="*/ 319187 h 319187"/>
              <a:gd name="connsiteX2" fmla="*/ 1329731 w 1329732"/>
              <a:gd name="connsiteY2" fmla="*/ 186167 h 319187"/>
              <a:gd name="connsiteX3" fmla="*/ 1329731 w 1329732"/>
              <a:gd name="connsiteY3" fmla="*/ 133019 h 319187"/>
              <a:gd name="connsiteX4" fmla="*/ 1196804 w 1329732"/>
              <a:gd name="connsiteY4" fmla="*/ 0 h 319187"/>
              <a:gd name="connsiteX5" fmla="*/ 132928 w 1329732"/>
              <a:gd name="connsiteY5" fmla="*/ 0 h 319187"/>
              <a:gd name="connsiteX6" fmla="*/ 0 w 1329732"/>
              <a:gd name="connsiteY6" fmla="*/ 133019 h 319187"/>
              <a:gd name="connsiteX7" fmla="*/ 0 w 1329732"/>
              <a:gd name="connsiteY7" fmla="*/ 186167 h 319187"/>
              <a:gd name="connsiteX8" fmla="*/ 132928 w 1329732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29732" h="319187">
                <a:moveTo>
                  <a:pt x="132928" y="319187"/>
                </a:moveTo>
                <a:lnTo>
                  <a:pt x="1196804" y="319187"/>
                </a:lnTo>
                <a:cubicBezTo>
                  <a:pt x="1270210" y="319187"/>
                  <a:pt x="1329731" y="259658"/>
                  <a:pt x="1329731" y="186167"/>
                </a:cubicBezTo>
                <a:lnTo>
                  <a:pt x="1329731" y="133019"/>
                </a:lnTo>
                <a:cubicBezTo>
                  <a:pt x="1329731" y="59528"/>
                  <a:pt x="1270210" y="0"/>
                  <a:pt x="1196804" y="0"/>
                </a:cubicBezTo>
                <a:lnTo>
                  <a:pt x="132928" y="0"/>
                </a:lnTo>
                <a:cubicBezTo>
                  <a:pt x="59521" y="0"/>
                  <a:pt x="0" y="59528"/>
                  <a:pt x="0" y="133019"/>
                </a:cubicBezTo>
                <a:lnTo>
                  <a:pt x="0" y="186167"/>
                </a:lnTo>
                <a:cubicBezTo>
                  <a:pt x="0" y="259658"/>
                  <a:pt x="59521" y="319187"/>
                  <a:pt x="132928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25" name="Freeform 3"/>
          <p:cNvSpPr/>
          <p:nvPr/>
        </p:nvSpPr>
        <p:spPr>
          <a:xfrm>
            <a:off x="5782839" y="1351798"/>
            <a:ext cx="265953" cy="26598"/>
          </a:xfrm>
          <a:custGeom>
            <a:avLst/>
            <a:gdLst>
              <a:gd name="connsiteX0" fmla="*/ 0 w 265953"/>
              <a:gd name="connsiteY0" fmla="*/ 13299 h 26598"/>
              <a:gd name="connsiteX1" fmla="*/ 265953 w 265953"/>
              <a:gd name="connsiteY1" fmla="*/ 13299 h 265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265953" h="26598">
                <a:moveTo>
                  <a:pt x="0" y="13299"/>
                </a:moveTo>
                <a:lnTo>
                  <a:pt x="265953" y="13299"/>
                </a:lnTo>
              </a:path>
            </a:pathLst>
          </a:custGeom>
          <a:ln w="25400">
            <a:solidFill>
              <a:srgbClr val="A4DAF7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26" name="Freeform 3"/>
          <p:cNvSpPr/>
          <p:nvPr/>
        </p:nvSpPr>
        <p:spPr>
          <a:xfrm>
            <a:off x="5776489" y="2130078"/>
            <a:ext cx="4108403" cy="63370"/>
          </a:xfrm>
          <a:custGeom>
            <a:avLst/>
            <a:gdLst>
              <a:gd name="connsiteX0" fmla="*/ 6350 w 4108403"/>
              <a:gd name="connsiteY0" fmla="*/ 6350 h 63370"/>
              <a:gd name="connsiteX1" fmla="*/ 6350 w 4108403"/>
              <a:gd name="connsiteY1" fmla="*/ 31722 h 63370"/>
              <a:gd name="connsiteX2" fmla="*/ 31719 w 4108403"/>
              <a:gd name="connsiteY2" fmla="*/ 57020 h 63370"/>
              <a:gd name="connsiteX3" fmla="*/ 4076758 w 4108403"/>
              <a:gd name="connsiteY3" fmla="*/ 57020 h 63370"/>
              <a:gd name="connsiteX4" fmla="*/ 4102053 w 4108403"/>
              <a:gd name="connsiteY4" fmla="*/ 31723 h 63370"/>
              <a:gd name="connsiteX5" fmla="*/ 4102053 w 4108403"/>
              <a:gd name="connsiteY5" fmla="*/ 6350 h 6337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</a:cxnLst>
            <a:rect l="l" t="t" r="r" b="b"/>
            <a:pathLst>
              <a:path w="4108403" h="63370">
                <a:moveTo>
                  <a:pt x="6350" y="6350"/>
                </a:moveTo>
                <a:lnTo>
                  <a:pt x="6350" y="31722"/>
                </a:lnTo>
                <a:cubicBezTo>
                  <a:pt x="6350" y="45685"/>
                  <a:pt x="17758" y="57020"/>
                  <a:pt x="31719" y="57020"/>
                </a:cubicBezTo>
                <a:lnTo>
                  <a:pt x="4076758" y="57020"/>
                </a:lnTo>
                <a:cubicBezTo>
                  <a:pt x="4090719" y="57020"/>
                  <a:pt x="4102053" y="45685"/>
                  <a:pt x="4102053" y="31723"/>
                </a:cubicBezTo>
                <a:lnTo>
                  <a:pt x="4102053" y="6350"/>
                </a:lnTo>
              </a:path>
            </a:pathLst>
          </a:custGeom>
          <a:ln w="12700">
            <a:solidFill>
              <a:srgbClr val="6D7481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28" name="Freeform 3"/>
          <p:cNvSpPr/>
          <p:nvPr/>
        </p:nvSpPr>
        <p:spPr>
          <a:xfrm>
            <a:off x="6453634" y="4689924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20 w 638295"/>
              <a:gd name="connsiteY1" fmla="*/ 319187 h 319187"/>
              <a:gd name="connsiteX2" fmla="*/ 638295 w 638295"/>
              <a:gd name="connsiteY2" fmla="*/ 255304 h 319187"/>
              <a:gd name="connsiteX3" fmla="*/ 638295 w 638295"/>
              <a:gd name="connsiteY3" fmla="*/ 63807 h 319187"/>
              <a:gd name="connsiteX4" fmla="*/ 574420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07 h 319187"/>
              <a:gd name="connsiteX7" fmla="*/ 0 w 638295"/>
              <a:gd name="connsiteY7" fmla="*/ 255304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20" y="319187"/>
                </a:lnTo>
                <a:cubicBezTo>
                  <a:pt x="609698" y="319187"/>
                  <a:pt x="638295" y="290586"/>
                  <a:pt x="638295" y="255304"/>
                </a:cubicBezTo>
                <a:lnTo>
                  <a:pt x="638295" y="63807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21" y="0"/>
                  <a:pt x="0" y="28600"/>
                  <a:pt x="0" y="63807"/>
                </a:cubicBezTo>
                <a:lnTo>
                  <a:pt x="0" y="255304"/>
                </a:lnTo>
                <a:cubicBezTo>
                  <a:pt x="0" y="290586"/>
                  <a:pt x="28521" y="319187"/>
                  <a:pt x="63799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29" name="Freeform 3"/>
          <p:cNvSpPr/>
          <p:nvPr/>
        </p:nvSpPr>
        <p:spPr>
          <a:xfrm>
            <a:off x="7145071" y="4689924"/>
            <a:ext cx="638295" cy="319187"/>
          </a:xfrm>
          <a:custGeom>
            <a:avLst/>
            <a:gdLst>
              <a:gd name="connsiteX0" fmla="*/ 63874 w 638295"/>
              <a:gd name="connsiteY0" fmla="*/ 319187 h 319187"/>
              <a:gd name="connsiteX1" fmla="*/ 574495 w 638295"/>
              <a:gd name="connsiteY1" fmla="*/ 319187 h 319187"/>
              <a:gd name="connsiteX2" fmla="*/ 638295 w 638295"/>
              <a:gd name="connsiteY2" fmla="*/ 255304 h 319187"/>
              <a:gd name="connsiteX3" fmla="*/ 638295 w 638295"/>
              <a:gd name="connsiteY3" fmla="*/ 63807 h 319187"/>
              <a:gd name="connsiteX4" fmla="*/ 574495 w 638295"/>
              <a:gd name="connsiteY4" fmla="*/ 0 h 319187"/>
              <a:gd name="connsiteX5" fmla="*/ 63874 w 638295"/>
              <a:gd name="connsiteY5" fmla="*/ 0 h 319187"/>
              <a:gd name="connsiteX6" fmla="*/ 0 w 638295"/>
              <a:gd name="connsiteY6" fmla="*/ 63807 h 319187"/>
              <a:gd name="connsiteX7" fmla="*/ 0 w 638295"/>
              <a:gd name="connsiteY7" fmla="*/ 255304 h 319187"/>
              <a:gd name="connsiteX8" fmla="*/ 63874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874" y="319187"/>
                </a:moveTo>
                <a:lnTo>
                  <a:pt x="574495" y="319187"/>
                </a:lnTo>
                <a:cubicBezTo>
                  <a:pt x="609697" y="319187"/>
                  <a:pt x="638295" y="290586"/>
                  <a:pt x="638295" y="255304"/>
                </a:cubicBezTo>
                <a:lnTo>
                  <a:pt x="638295" y="63807"/>
                </a:lnTo>
                <a:cubicBezTo>
                  <a:pt x="638295" y="28600"/>
                  <a:pt x="609697" y="0"/>
                  <a:pt x="574495" y="0"/>
                </a:cubicBezTo>
                <a:lnTo>
                  <a:pt x="63874" y="0"/>
                </a:lnTo>
                <a:cubicBezTo>
                  <a:pt x="28596" y="0"/>
                  <a:pt x="0" y="28600"/>
                  <a:pt x="0" y="63807"/>
                </a:cubicBezTo>
                <a:lnTo>
                  <a:pt x="0" y="255304"/>
                </a:lnTo>
                <a:cubicBezTo>
                  <a:pt x="0" y="290586"/>
                  <a:pt x="28596" y="319187"/>
                  <a:pt x="63874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30" name="Freeform 3"/>
          <p:cNvSpPr/>
          <p:nvPr/>
        </p:nvSpPr>
        <p:spPr>
          <a:xfrm>
            <a:off x="7836582" y="4689924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20 w 638295"/>
              <a:gd name="connsiteY1" fmla="*/ 319187 h 319187"/>
              <a:gd name="connsiteX2" fmla="*/ 638295 w 638295"/>
              <a:gd name="connsiteY2" fmla="*/ 255304 h 319187"/>
              <a:gd name="connsiteX3" fmla="*/ 638295 w 638295"/>
              <a:gd name="connsiteY3" fmla="*/ 63807 h 319187"/>
              <a:gd name="connsiteX4" fmla="*/ 574420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07 h 319187"/>
              <a:gd name="connsiteX7" fmla="*/ 0 w 638295"/>
              <a:gd name="connsiteY7" fmla="*/ 255304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20" y="319187"/>
                </a:lnTo>
                <a:cubicBezTo>
                  <a:pt x="609698" y="319187"/>
                  <a:pt x="638295" y="290586"/>
                  <a:pt x="638295" y="255304"/>
                </a:cubicBezTo>
                <a:lnTo>
                  <a:pt x="638295" y="63807"/>
                </a:lnTo>
                <a:cubicBezTo>
                  <a:pt x="638295" y="28600"/>
                  <a:pt x="609698" y="0"/>
                  <a:pt x="574420" y="0"/>
                </a:cubicBezTo>
                <a:lnTo>
                  <a:pt x="63799" y="0"/>
                </a:lnTo>
                <a:cubicBezTo>
                  <a:pt x="28597" y="0"/>
                  <a:pt x="0" y="28600"/>
                  <a:pt x="0" y="63807"/>
                </a:cubicBezTo>
                <a:lnTo>
                  <a:pt x="0" y="255304"/>
                </a:lnTo>
                <a:cubicBezTo>
                  <a:pt x="0" y="290586"/>
                  <a:pt x="28597" y="319187"/>
                  <a:pt x="63799" y="319187"/>
                </a:cubicBezTo>
              </a:path>
            </a:pathLst>
          </a:custGeom>
          <a:solidFill>
            <a:srgbClr val="7B808C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31" name="Freeform 3"/>
          <p:cNvSpPr/>
          <p:nvPr/>
        </p:nvSpPr>
        <p:spPr>
          <a:xfrm>
            <a:off x="8528019" y="4689924"/>
            <a:ext cx="638295" cy="319187"/>
          </a:xfrm>
          <a:custGeom>
            <a:avLst/>
            <a:gdLst>
              <a:gd name="connsiteX0" fmla="*/ 63874 w 638295"/>
              <a:gd name="connsiteY0" fmla="*/ 319186 h 319187"/>
              <a:gd name="connsiteX1" fmla="*/ 574495 w 638295"/>
              <a:gd name="connsiteY1" fmla="*/ 319186 h 319187"/>
              <a:gd name="connsiteX2" fmla="*/ 638295 w 638295"/>
              <a:gd name="connsiteY2" fmla="*/ 255304 h 319187"/>
              <a:gd name="connsiteX3" fmla="*/ 638295 w 638295"/>
              <a:gd name="connsiteY3" fmla="*/ 63807 h 319187"/>
              <a:gd name="connsiteX4" fmla="*/ 574495 w 638295"/>
              <a:gd name="connsiteY4" fmla="*/ 0 h 319187"/>
              <a:gd name="connsiteX5" fmla="*/ 63874 w 638295"/>
              <a:gd name="connsiteY5" fmla="*/ 0 h 319187"/>
              <a:gd name="connsiteX6" fmla="*/ 0 w 638295"/>
              <a:gd name="connsiteY6" fmla="*/ 63807 h 319187"/>
              <a:gd name="connsiteX7" fmla="*/ 0 w 638295"/>
              <a:gd name="connsiteY7" fmla="*/ 255304 h 319187"/>
              <a:gd name="connsiteX8" fmla="*/ 63874 w 638295"/>
              <a:gd name="connsiteY8" fmla="*/ 319186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874" y="319186"/>
                </a:moveTo>
                <a:lnTo>
                  <a:pt x="574495" y="319186"/>
                </a:lnTo>
                <a:cubicBezTo>
                  <a:pt x="609772" y="319186"/>
                  <a:pt x="638295" y="290586"/>
                  <a:pt x="638295" y="255304"/>
                </a:cubicBezTo>
                <a:lnTo>
                  <a:pt x="638295" y="63807"/>
                </a:lnTo>
                <a:cubicBezTo>
                  <a:pt x="638295" y="28600"/>
                  <a:pt x="609772" y="0"/>
                  <a:pt x="574495" y="0"/>
                </a:cubicBezTo>
                <a:lnTo>
                  <a:pt x="63874" y="0"/>
                </a:lnTo>
                <a:cubicBezTo>
                  <a:pt x="28596" y="0"/>
                  <a:pt x="0" y="28600"/>
                  <a:pt x="0" y="63807"/>
                </a:cubicBezTo>
                <a:lnTo>
                  <a:pt x="0" y="255304"/>
                </a:lnTo>
                <a:cubicBezTo>
                  <a:pt x="0" y="290586"/>
                  <a:pt x="28596" y="319186"/>
                  <a:pt x="63874" y="319186"/>
                </a:cubicBezTo>
              </a:path>
            </a:pathLst>
          </a:custGeom>
          <a:solidFill>
            <a:srgbClr val="7B808C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32" name="Freeform 3"/>
          <p:cNvSpPr/>
          <p:nvPr/>
        </p:nvSpPr>
        <p:spPr>
          <a:xfrm>
            <a:off x="5762123" y="4689924"/>
            <a:ext cx="638295" cy="319187"/>
          </a:xfrm>
          <a:custGeom>
            <a:avLst/>
            <a:gdLst>
              <a:gd name="connsiteX0" fmla="*/ 63799 w 638295"/>
              <a:gd name="connsiteY0" fmla="*/ 319187 h 319187"/>
              <a:gd name="connsiteX1" fmla="*/ 574495 w 638295"/>
              <a:gd name="connsiteY1" fmla="*/ 319187 h 319187"/>
              <a:gd name="connsiteX2" fmla="*/ 638295 w 638295"/>
              <a:gd name="connsiteY2" fmla="*/ 255304 h 319187"/>
              <a:gd name="connsiteX3" fmla="*/ 638295 w 638295"/>
              <a:gd name="connsiteY3" fmla="*/ 63807 h 319187"/>
              <a:gd name="connsiteX4" fmla="*/ 574495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07 h 319187"/>
              <a:gd name="connsiteX7" fmla="*/ 0 w 638295"/>
              <a:gd name="connsiteY7" fmla="*/ 255304 h 319187"/>
              <a:gd name="connsiteX8" fmla="*/ 63799 w 638295"/>
              <a:gd name="connsiteY8" fmla="*/ 319187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7"/>
                </a:moveTo>
                <a:lnTo>
                  <a:pt x="574495" y="319187"/>
                </a:lnTo>
                <a:cubicBezTo>
                  <a:pt x="609698" y="319187"/>
                  <a:pt x="638295" y="290586"/>
                  <a:pt x="638295" y="255304"/>
                </a:cubicBezTo>
                <a:lnTo>
                  <a:pt x="638295" y="63807"/>
                </a:lnTo>
                <a:cubicBezTo>
                  <a:pt x="638295" y="28600"/>
                  <a:pt x="609698" y="0"/>
                  <a:pt x="574495" y="0"/>
                </a:cubicBezTo>
                <a:lnTo>
                  <a:pt x="63799" y="0"/>
                </a:lnTo>
                <a:cubicBezTo>
                  <a:pt x="28597" y="0"/>
                  <a:pt x="0" y="28600"/>
                  <a:pt x="0" y="63807"/>
                </a:cubicBezTo>
                <a:lnTo>
                  <a:pt x="0" y="255304"/>
                </a:lnTo>
                <a:cubicBezTo>
                  <a:pt x="0" y="290586"/>
                  <a:pt x="28597" y="319187"/>
                  <a:pt x="63799" y="319187"/>
                </a:cubicBezTo>
              </a:path>
            </a:pathLst>
          </a:custGeom>
          <a:solidFill>
            <a:srgbClr val="232C4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33" name="Freeform 3"/>
          <p:cNvSpPr/>
          <p:nvPr/>
        </p:nvSpPr>
        <p:spPr>
          <a:xfrm>
            <a:off x="9219531" y="4689924"/>
            <a:ext cx="638295" cy="319187"/>
          </a:xfrm>
          <a:custGeom>
            <a:avLst/>
            <a:gdLst>
              <a:gd name="connsiteX0" fmla="*/ 63799 w 638295"/>
              <a:gd name="connsiteY0" fmla="*/ 319186 h 319187"/>
              <a:gd name="connsiteX1" fmla="*/ 574495 w 638295"/>
              <a:gd name="connsiteY1" fmla="*/ 319186 h 319187"/>
              <a:gd name="connsiteX2" fmla="*/ 638295 w 638295"/>
              <a:gd name="connsiteY2" fmla="*/ 255304 h 319187"/>
              <a:gd name="connsiteX3" fmla="*/ 638295 w 638295"/>
              <a:gd name="connsiteY3" fmla="*/ 63807 h 319187"/>
              <a:gd name="connsiteX4" fmla="*/ 574495 w 638295"/>
              <a:gd name="connsiteY4" fmla="*/ 0 h 319187"/>
              <a:gd name="connsiteX5" fmla="*/ 63799 w 638295"/>
              <a:gd name="connsiteY5" fmla="*/ 0 h 319187"/>
              <a:gd name="connsiteX6" fmla="*/ 0 w 638295"/>
              <a:gd name="connsiteY6" fmla="*/ 63807 h 319187"/>
              <a:gd name="connsiteX7" fmla="*/ 0 w 638295"/>
              <a:gd name="connsiteY7" fmla="*/ 255304 h 319187"/>
              <a:gd name="connsiteX8" fmla="*/ 63799 w 638295"/>
              <a:gd name="connsiteY8" fmla="*/ 319186 h 3191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8295" h="319187">
                <a:moveTo>
                  <a:pt x="63799" y="319186"/>
                </a:moveTo>
                <a:lnTo>
                  <a:pt x="574495" y="319186"/>
                </a:lnTo>
                <a:cubicBezTo>
                  <a:pt x="609698" y="319186"/>
                  <a:pt x="638295" y="290586"/>
                  <a:pt x="638295" y="255304"/>
                </a:cubicBezTo>
                <a:lnTo>
                  <a:pt x="638295" y="63807"/>
                </a:lnTo>
                <a:cubicBezTo>
                  <a:pt x="638295" y="28600"/>
                  <a:pt x="609698" y="0"/>
                  <a:pt x="574495" y="0"/>
                </a:cubicBezTo>
                <a:lnTo>
                  <a:pt x="63799" y="0"/>
                </a:lnTo>
                <a:cubicBezTo>
                  <a:pt x="28597" y="0"/>
                  <a:pt x="0" y="28600"/>
                  <a:pt x="0" y="63807"/>
                </a:cubicBezTo>
                <a:lnTo>
                  <a:pt x="0" y="255304"/>
                </a:lnTo>
                <a:cubicBezTo>
                  <a:pt x="0" y="290586"/>
                  <a:pt x="28597" y="319186"/>
                  <a:pt x="63799" y="319186"/>
                </a:cubicBezTo>
              </a:path>
            </a:pathLst>
          </a:custGeom>
          <a:solidFill>
            <a:srgbClr val="7B808C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34" name="Freeform 3"/>
          <p:cNvSpPr/>
          <p:nvPr/>
        </p:nvSpPr>
        <p:spPr>
          <a:xfrm>
            <a:off x="5785916" y="3234891"/>
            <a:ext cx="372364" cy="319186"/>
          </a:xfrm>
          <a:custGeom>
            <a:avLst/>
            <a:gdLst>
              <a:gd name="connsiteX0" fmla="*/ 159573 w 372364"/>
              <a:gd name="connsiteY0" fmla="*/ 0 h 319186"/>
              <a:gd name="connsiteX1" fmla="*/ 212790 w 372364"/>
              <a:gd name="connsiteY1" fmla="*/ 0 h 319186"/>
              <a:gd name="connsiteX2" fmla="*/ 372363 w 372364"/>
              <a:gd name="connsiteY2" fmla="*/ 159593 h 319186"/>
              <a:gd name="connsiteX3" fmla="*/ 212790 w 372364"/>
              <a:gd name="connsiteY3" fmla="*/ 319186 h 319186"/>
              <a:gd name="connsiteX4" fmla="*/ 159573 w 372364"/>
              <a:gd name="connsiteY4" fmla="*/ 319186 h 319186"/>
              <a:gd name="connsiteX5" fmla="*/ 0 w 372364"/>
              <a:gd name="connsiteY5" fmla="*/ 159593 h 319186"/>
              <a:gd name="connsiteX6" fmla="*/ 159573 w 372364"/>
              <a:gd name="connsiteY6" fmla="*/ 0 h 319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372364" h="319186">
                <a:moveTo>
                  <a:pt x="159573" y="0"/>
                </a:moveTo>
                <a:lnTo>
                  <a:pt x="212790" y="0"/>
                </a:lnTo>
                <a:cubicBezTo>
                  <a:pt x="300908" y="0"/>
                  <a:pt x="372363" y="71464"/>
                  <a:pt x="372363" y="159593"/>
                </a:cubicBezTo>
                <a:cubicBezTo>
                  <a:pt x="372363" y="247722"/>
                  <a:pt x="300908" y="319186"/>
                  <a:pt x="212790" y="319186"/>
                </a:cubicBezTo>
                <a:lnTo>
                  <a:pt x="159573" y="319186"/>
                </a:lnTo>
                <a:cubicBezTo>
                  <a:pt x="71455" y="319186"/>
                  <a:pt x="0" y="247722"/>
                  <a:pt x="0" y="159593"/>
                </a:cubicBezTo>
                <a:cubicBezTo>
                  <a:pt x="0" y="71464"/>
                  <a:pt x="71455" y="0"/>
                  <a:pt x="159573" y="0"/>
                </a:cubicBezTo>
              </a:path>
            </a:pathLst>
          </a:custGeom>
          <a:solidFill>
            <a:srgbClr val="A4DAF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03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62300" y="2070100"/>
            <a:ext cx="1549400" cy="838200"/>
          </a:xfrm>
          <a:prstGeom prst="rect">
            <a:avLst/>
          </a:prstGeom>
          <a:noFill/>
        </p:spPr>
      </p:pic>
      <p:pic>
        <p:nvPicPr>
          <p:cNvPr id="1036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41600" y="3086100"/>
            <a:ext cx="2374900" cy="1257300"/>
          </a:xfrm>
          <a:prstGeom prst="rect">
            <a:avLst/>
          </a:prstGeom>
          <a:noFill/>
        </p:spPr>
      </p:pic>
      <p:pic>
        <p:nvPicPr>
          <p:cNvPr id="103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67600" y="3238500"/>
            <a:ext cx="520700" cy="279400"/>
          </a:xfrm>
          <a:prstGeom prst="rect">
            <a:avLst/>
          </a:prstGeom>
          <a:noFill/>
        </p:spPr>
      </p:pic>
      <p:pic>
        <p:nvPicPr>
          <p:cNvPr id="1038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6692900" y="5803900"/>
            <a:ext cx="1651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Calibri" pitchFamily="18" charset="0"/>
                <a:ea typeface="宋体" panose="02010600030101010101" pitchFamily="2" charset="-122"/>
                <a:cs typeface="Calibri" pitchFamily="18" charset="0"/>
              </a:rPr>
              <a:t>LIDAR</a:t>
            </a:r>
          </a:p>
        </p:txBody>
      </p:sp>
      <p:sp>
        <p:nvSpPr>
          <p:cNvPr id="1040" name="TextBox 1"/>
          <p:cNvSpPr txBox="1"/>
          <p:nvPr/>
        </p:nvSpPr>
        <p:spPr>
          <a:xfrm>
            <a:off x="6654800" y="4445000"/>
            <a:ext cx="2032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LIDAR</a:t>
            </a:r>
          </a:p>
        </p:txBody>
      </p:sp>
      <p:sp>
        <p:nvSpPr>
          <p:cNvPr id="1041" name="TextBox 1"/>
          <p:cNvSpPr txBox="1"/>
          <p:nvPr/>
        </p:nvSpPr>
        <p:spPr>
          <a:xfrm>
            <a:off x="7327900" y="4445000"/>
            <a:ext cx="2540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FlexRay</a:t>
            </a:r>
          </a:p>
        </p:txBody>
      </p:sp>
      <p:sp>
        <p:nvSpPr>
          <p:cNvPr id="1042" name="TextBox 1"/>
          <p:cNvSpPr txBox="1"/>
          <p:nvPr/>
        </p:nvSpPr>
        <p:spPr>
          <a:xfrm>
            <a:off x="8077200" y="4445000"/>
            <a:ext cx="1270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IMU</a:t>
            </a:r>
          </a:p>
        </p:txBody>
      </p:sp>
      <p:sp>
        <p:nvSpPr>
          <p:cNvPr id="1043" name="TextBox 1"/>
          <p:cNvSpPr txBox="1"/>
          <p:nvPr/>
        </p:nvSpPr>
        <p:spPr>
          <a:xfrm>
            <a:off x="8610600" y="4445000"/>
            <a:ext cx="4572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ULTRASONIC</a:t>
            </a:r>
          </a:p>
        </p:txBody>
      </p:sp>
      <p:sp>
        <p:nvSpPr>
          <p:cNvPr id="1044" name="TextBox 1"/>
          <p:cNvSpPr txBox="1"/>
          <p:nvPr/>
        </p:nvSpPr>
        <p:spPr>
          <a:xfrm>
            <a:off x="5816600" y="4406900"/>
            <a:ext cx="520700" cy="1524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7000" algn="l"/>
              </a:tabLst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Multiple</a:t>
            </a: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amera</a:t>
            </a:r>
          </a:p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7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(Stereo)</a:t>
            </a:r>
          </a:p>
        </p:txBody>
      </p:sp>
      <p:sp>
        <p:nvSpPr>
          <p:cNvPr id="1045" name="TextBox 1"/>
          <p:cNvSpPr txBox="1"/>
          <p:nvPr/>
        </p:nvSpPr>
        <p:spPr>
          <a:xfrm>
            <a:off x="9461500" y="4445000"/>
            <a:ext cx="1524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GPS</a:t>
            </a:r>
          </a:p>
        </p:txBody>
      </p:sp>
      <p:sp>
        <p:nvSpPr>
          <p:cNvPr id="1046" name="TextBox 1"/>
          <p:cNvSpPr txBox="1"/>
          <p:nvPr/>
        </p:nvSpPr>
        <p:spPr>
          <a:xfrm>
            <a:off x="5753100" y="4051300"/>
            <a:ext cx="584200" cy="889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32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ensor</a:t>
            </a:r>
            <a:r>
              <a:rPr kumimoji="0" lang="en-US" altLang="zh-CN" sz="73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732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tack</a:t>
            </a:r>
          </a:p>
        </p:txBody>
      </p:sp>
      <p:sp>
        <p:nvSpPr>
          <p:cNvPr id="1047" name="TextBox 1"/>
          <p:cNvSpPr txBox="1"/>
          <p:nvPr/>
        </p:nvSpPr>
        <p:spPr>
          <a:xfrm>
            <a:off x="7353300" y="5778500"/>
            <a:ext cx="901700" cy="1524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Workstation</a:t>
            </a:r>
          </a:p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(AMD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Epyc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/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Nvidia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Quadro)</a:t>
            </a:r>
          </a:p>
        </p:txBody>
      </p:sp>
      <p:sp>
        <p:nvSpPr>
          <p:cNvPr id="1048" name="TextBox 1"/>
          <p:cNvSpPr txBox="1"/>
          <p:nvPr/>
        </p:nvSpPr>
        <p:spPr>
          <a:xfrm>
            <a:off x="8978900" y="5778500"/>
            <a:ext cx="444500" cy="1524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Vehicle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etup</a:t>
            </a:r>
          </a:p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owersupply</a:t>
            </a:r>
          </a:p>
        </p:txBody>
      </p:sp>
      <p:sp>
        <p:nvSpPr>
          <p:cNvPr id="1049" name="TextBox 1"/>
          <p:cNvSpPr txBox="1"/>
          <p:nvPr/>
        </p:nvSpPr>
        <p:spPr>
          <a:xfrm>
            <a:off x="5588000" y="5803900"/>
            <a:ext cx="1282700" cy="10668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  <a:tab pos="393700" algn="l"/>
                <a:tab pos="647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ayenne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E3</a:t>
            </a:r>
          </a:p>
          <a:p>
            <a:pPr marL="0" marR="0" lvl="0" indent="0" algn="l" defTabSz="914400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  <a:tab pos="393700" algn="l"/>
                <a:tab pos="647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(Architecture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MLBevoGen2)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  <a:tab pos="393700" algn="l"/>
                <a:tab pos="6477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  <a:tab pos="393700" algn="l"/>
                <a:tab pos="647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1050" name="TextBox 1"/>
          <p:cNvSpPr txBox="1"/>
          <p:nvPr/>
        </p:nvSpPr>
        <p:spPr>
          <a:xfrm>
            <a:off x="6502400" y="2984500"/>
            <a:ext cx="5207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LOCALIZATION</a:t>
            </a:r>
          </a:p>
        </p:txBody>
      </p:sp>
      <p:sp>
        <p:nvSpPr>
          <p:cNvPr id="1051" name="TextBox 1"/>
          <p:cNvSpPr txBox="1"/>
          <p:nvPr/>
        </p:nvSpPr>
        <p:spPr>
          <a:xfrm>
            <a:off x="7226300" y="2984500"/>
            <a:ext cx="4572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ERCEPTION</a:t>
            </a:r>
          </a:p>
        </p:txBody>
      </p:sp>
      <p:sp>
        <p:nvSpPr>
          <p:cNvPr id="1052" name="TextBox 1"/>
          <p:cNvSpPr txBox="1"/>
          <p:nvPr/>
        </p:nvSpPr>
        <p:spPr>
          <a:xfrm>
            <a:off x="7924800" y="2984500"/>
            <a:ext cx="4445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REDICTION</a:t>
            </a:r>
          </a:p>
        </p:txBody>
      </p:sp>
      <p:sp>
        <p:nvSpPr>
          <p:cNvPr id="1053" name="TextBox 1"/>
          <p:cNvSpPr txBox="1"/>
          <p:nvPr/>
        </p:nvSpPr>
        <p:spPr>
          <a:xfrm>
            <a:off x="8661400" y="2984500"/>
            <a:ext cx="3683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LANNING</a:t>
            </a:r>
          </a:p>
        </p:txBody>
      </p:sp>
      <p:sp>
        <p:nvSpPr>
          <p:cNvPr id="1054" name="TextBox 1"/>
          <p:cNvSpPr txBox="1"/>
          <p:nvPr/>
        </p:nvSpPr>
        <p:spPr>
          <a:xfrm>
            <a:off x="5994400" y="2984500"/>
            <a:ext cx="1524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MAP</a:t>
            </a:r>
          </a:p>
        </p:txBody>
      </p:sp>
      <p:sp>
        <p:nvSpPr>
          <p:cNvPr id="1055" name="TextBox 1"/>
          <p:cNvSpPr txBox="1"/>
          <p:nvPr/>
        </p:nvSpPr>
        <p:spPr>
          <a:xfrm>
            <a:off x="9359900" y="2984500"/>
            <a:ext cx="3429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ONTROL</a:t>
            </a:r>
          </a:p>
        </p:txBody>
      </p:sp>
      <p:sp>
        <p:nvSpPr>
          <p:cNvPr id="1056" name="TextBox 1"/>
          <p:cNvSpPr txBox="1"/>
          <p:nvPr/>
        </p:nvSpPr>
        <p:spPr>
          <a:xfrm>
            <a:off x="7683500" y="1854200"/>
            <a:ext cx="2413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LOUD</a:t>
            </a:r>
          </a:p>
        </p:txBody>
      </p:sp>
      <p:sp>
        <p:nvSpPr>
          <p:cNvPr id="1057" name="TextBox 1"/>
          <p:cNvSpPr txBox="1"/>
          <p:nvPr/>
        </p:nvSpPr>
        <p:spPr>
          <a:xfrm>
            <a:off x="8978900" y="1854200"/>
            <a:ext cx="4318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IMULATION</a:t>
            </a:r>
          </a:p>
        </p:txBody>
      </p:sp>
      <p:sp>
        <p:nvSpPr>
          <p:cNvPr id="1058" name="TextBox 1"/>
          <p:cNvSpPr txBox="1"/>
          <p:nvPr/>
        </p:nvSpPr>
        <p:spPr>
          <a:xfrm>
            <a:off x="5765800" y="1879600"/>
            <a:ext cx="723900" cy="8128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69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577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V2X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96900" algn="l"/>
              </a:tabLst>
              <a:defRPr/>
            </a:pPr>
            <a:r>
              <a:rPr kumimoji="0" lang="en-US" altLang="zh-CN" sz="731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oftware</a:t>
            </a:r>
            <a:r>
              <a:rPr kumimoji="0" lang="en-US" altLang="zh-CN" sz="73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731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tack</a:t>
            </a:r>
          </a:p>
        </p:txBody>
      </p:sp>
      <p:sp>
        <p:nvSpPr>
          <p:cNvPr id="1059" name="TextBox 1"/>
          <p:cNvSpPr txBox="1"/>
          <p:nvPr/>
        </p:nvSpPr>
        <p:spPr>
          <a:xfrm>
            <a:off x="5765800" y="1447800"/>
            <a:ext cx="596900" cy="889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32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ervice</a:t>
            </a:r>
            <a:r>
              <a:rPr kumimoji="0" lang="en-US" altLang="zh-CN" sz="73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732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tack</a:t>
            </a:r>
          </a:p>
        </p:txBody>
      </p:sp>
      <p:sp>
        <p:nvSpPr>
          <p:cNvPr id="1060" name="TextBox 1"/>
          <p:cNvSpPr txBox="1"/>
          <p:nvPr/>
        </p:nvSpPr>
        <p:spPr>
          <a:xfrm>
            <a:off x="6642100" y="4813300"/>
            <a:ext cx="2413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ADAR</a:t>
            </a:r>
          </a:p>
        </p:txBody>
      </p:sp>
      <p:sp>
        <p:nvSpPr>
          <p:cNvPr id="1061" name="TextBox 1"/>
          <p:cNvSpPr txBox="1"/>
          <p:nvPr/>
        </p:nvSpPr>
        <p:spPr>
          <a:xfrm>
            <a:off x="7378700" y="4813300"/>
            <a:ext cx="152400" cy="63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AN</a:t>
            </a:r>
          </a:p>
        </p:txBody>
      </p:sp>
      <p:sp>
        <p:nvSpPr>
          <p:cNvPr id="1062" name="TextBox 1"/>
          <p:cNvSpPr txBox="1"/>
          <p:nvPr/>
        </p:nvSpPr>
        <p:spPr>
          <a:xfrm>
            <a:off x="5778500" y="4838700"/>
            <a:ext cx="596900" cy="6731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35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eal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Top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576" b="0" i="0" u="none" strike="noStrike" kern="1200" cap="none" spc="0" normalizeH="0" baseline="0" noProof="0" dirty="0" smtClean="0">
                <a:ln>
                  <a:noFill/>
                </a:ln>
                <a:solidFill>
                  <a:srgbClr val="FAFAFA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View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3500" algn="l"/>
              </a:tabLst>
              <a:defRPr/>
            </a:pPr>
            <a:r>
              <a:rPr kumimoji="0" lang="en-US" altLang="zh-CN" sz="731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Vehicle</a:t>
            </a:r>
            <a:r>
              <a:rPr kumimoji="0" lang="en-US" altLang="zh-CN" sz="73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731" b="1" i="0" u="none" strike="noStrike" kern="1200" cap="none" spc="0" normalizeH="0" baseline="0" noProof="0" dirty="0" smtClean="0">
                <a:ln>
                  <a:noFill/>
                </a:ln>
                <a:solidFill>
                  <a:srgbClr val="F7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tack</a:t>
            </a:r>
          </a:p>
        </p:txBody>
      </p:sp>
      <p:sp>
        <p:nvSpPr>
          <p:cNvPr id="1063" name="TextBox 1"/>
          <p:cNvSpPr txBox="1"/>
          <p:nvPr/>
        </p:nvSpPr>
        <p:spPr>
          <a:xfrm>
            <a:off x="330200" y="584200"/>
            <a:ext cx="4864100" cy="12446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11400" algn="l"/>
              </a:tabLst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gh-Level-Architecture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114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</a:p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114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354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JUPITER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5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94802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3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4" name="TextBox 1"/>
          <p:cNvSpPr txBox="1"/>
          <p:nvPr/>
        </p:nvSpPr>
        <p:spPr>
          <a:xfrm>
            <a:off x="330200" y="571500"/>
            <a:ext cx="31115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oftware-Stack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O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Robo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perating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ystem)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5981700" y="3467100"/>
            <a:ext cx="304800" cy="266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OS-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Node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5981700" y="4127500"/>
            <a:ext cx="292100" cy="241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400" algn="l"/>
              </a:tabLst>
              <a:defRPr/>
            </a:pP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Driver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4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89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node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8648700" y="4127500"/>
            <a:ext cx="469900" cy="241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08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GMSL</a:t>
            </a:r>
            <a:r>
              <a:rPr kumimoji="0" lang="en-US" altLang="zh-CN" sz="899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/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0800" algn="l"/>
              </a:tabLst>
              <a:defRPr/>
            </a:pPr>
            <a:r>
              <a:rPr kumimoji="0" lang="en-US" altLang="zh-CN" sz="89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ZED</a:t>
            </a:r>
            <a:r>
              <a:rPr kumimoji="0" lang="en-US" altLang="zh-CN" sz="8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89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DK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7848600" y="4127500"/>
            <a:ext cx="266700" cy="241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400" algn="l"/>
              </a:tabLst>
              <a:defRPr/>
            </a:pP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Livox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4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89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DK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5905500" y="5003800"/>
            <a:ext cx="457200" cy="1651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Driver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692900" y="4864100"/>
            <a:ext cx="609600" cy="114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OS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driver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6692900" y="5016500"/>
            <a:ext cx="838200" cy="266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ackages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(Sensor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tack)</a:t>
            </a:r>
          </a:p>
        </p:txBody>
      </p:sp>
      <p:sp>
        <p:nvSpPr>
          <p:cNvPr id="12" name="TextBox 1"/>
          <p:cNvSpPr txBox="1"/>
          <p:nvPr/>
        </p:nvSpPr>
        <p:spPr>
          <a:xfrm>
            <a:off x="4457700" y="4660900"/>
            <a:ext cx="838200" cy="114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os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Messages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4508500" y="4813300"/>
            <a:ext cx="736600" cy="114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and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ervices</a:t>
            </a:r>
          </a:p>
        </p:txBody>
      </p:sp>
      <p:sp>
        <p:nvSpPr>
          <p:cNvPr id="14" name="TextBox 1"/>
          <p:cNvSpPr txBox="1"/>
          <p:nvPr/>
        </p:nvSpPr>
        <p:spPr>
          <a:xfrm>
            <a:off x="4546600" y="5105400"/>
            <a:ext cx="889000" cy="266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651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Hardware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65100" algn="l"/>
              </a:tabLst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ommunication</a:t>
            </a:r>
          </a:p>
        </p:txBody>
      </p:sp>
      <p:sp>
        <p:nvSpPr>
          <p:cNvPr id="15" name="TextBox 1"/>
          <p:cNvSpPr txBox="1"/>
          <p:nvPr/>
        </p:nvSpPr>
        <p:spPr>
          <a:xfrm>
            <a:off x="7835900" y="5016500"/>
            <a:ext cx="304800" cy="266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Livox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Lidar</a:t>
            </a:r>
          </a:p>
        </p:txBody>
      </p:sp>
      <p:sp>
        <p:nvSpPr>
          <p:cNvPr id="16" name="TextBox 1"/>
          <p:cNvSpPr txBox="1"/>
          <p:nvPr/>
        </p:nvSpPr>
        <p:spPr>
          <a:xfrm>
            <a:off x="8610600" y="5016500"/>
            <a:ext cx="584200" cy="266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3500" algn="l"/>
              </a:tabLst>
              <a:defRPr/>
            </a:pP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X2/ZED2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35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amera</a:t>
            </a:r>
          </a:p>
        </p:txBody>
      </p:sp>
      <p:sp>
        <p:nvSpPr>
          <p:cNvPr id="17" name="TextBox 1"/>
          <p:cNvSpPr txBox="1"/>
          <p:nvPr/>
        </p:nvSpPr>
        <p:spPr>
          <a:xfrm>
            <a:off x="9715500" y="5016500"/>
            <a:ext cx="825500" cy="266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Vehiclebus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(CAN/FlexRay)</a:t>
            </a:r>
          </a:p>
        </p:txBody>
      </p:sp>
      <p:sp>
        <p:nvSpPr>
          <p:cNvPr id="18" name="TextBox 1"/>
          <p:cNvSpPr txBox="1"/>
          <p:nvPr/>
        </p:nvSpPr>
        <p:spPr>
          <a:xfrm>
            <a:off x="4470400" y="5410200"/>
            <a:ext cx="1968500" cy="495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2100" algn="l"/>
                <a:tab pos="1346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through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2100" algn="l"/>
                <a:tab pos="1346200" algn="l"/>
              </a:tabLst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AN,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erial,USB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..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2100" algn="l"/>
                <a:tab pos="13462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063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Hardware</a:t>
            </a:r>
          </a:p>
        </p:txBody>
      </p:sp>
      <p:sp>
        <p:nvSpPr>
          <p:cNvPr id="19" name="TextBox 1"/>
          <p:cNvSpPr txBox="1"/>
          <p:nvPr/>
        </p:nvSpPr>
        <p:spPr>
          <a:xfrm>
            <a:off x="9601200" y="4127500"/>
            <a:ext cx="495300" cy="241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OS_BUS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89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Driver</a:t>
            </a:r>
          </a:p>
        </p:txBody>
      </p:sp>
      <p:sp>
        <p:nvSpPr>
          <p:cNvPr id="20" name="TextBox 1"/>
          <p:cNvSpPr txBox="1"/>
          <p:nvPr/>
        </p:nvSpPr>
        <p:spPr>
          <a:xfrm>
            <a:off x="6604000" y="2768600"/>
            <a:ext cx="266700" cy="114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MAP</a:t>
            </a:r>
          </a:p>
        </p:txBody>
      </p:sp>
      <p:sp>
        <p:nvSpPr>
          <p:cNvPr id="21" name="TextBox 1"/>
          <p:cNvSpPr txBox="1"/>
          <p:nvPr/>
        </p:nvSpPr>
        <p:spPr>
          <a:xfrm>
            <a:off x="6959600" y="1524000"/>
            <a:ext cx="3086100" cy="2222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03200" algn="l"/>
                <a:tab pos="431800" algn="l"/>
                <a:tab pos="1765300" algn="l"/>
                <a:tab pos="18034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</a:t>
            </a:r>
            <a:r>
              <a:rPr kumimoji="0" lang="en-US" altLang="zh-CN" sz="155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OS</a:t>
            </a:r>
            <a:r>
              <a:rPr kumimoji="0" lang="en-US" altLang="zh-CN" sz="155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55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Highlevel</a:t>
            </a:r>
            <a:r>
              <a:rPr kumimoji="0" lang="en-US" altLang="zh-CN" sz="155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55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Nodegraph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03200" algn="l"/>
                <a:tab pos="431800" algn="l"/>
                <a:tab pos="1765300" algn="l"/>
                <a:tab pos="18034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Localization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                                                            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rediction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03200" algn="l"/>
                <a:tab pos="431800" algn="l"/>
                <a:tab pos="1765300" algn="l"/>
                <a:tab pos="18034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	</a:t>
            </a: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OS-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03200" algn="l"/>
                <a:tab pos="431800" algn="l"/>
                <a:tab pos="1765300" algn="l"/>
                <a:tab pos="18034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		</a:t>
            </a:r>
            <a:r>
              <a:rPr kumimoji="0" lang="en-US" altLang="zh-CN" sz="899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Master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03200" algn="l"/>
                <a:tab pos="431800" algn="l"/>
                <a:tab pos="1765300" algn="l"/>
                <a:tab pos="1803400" algn="l"/>
              </a:tabLst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erception</a:t>
            </a:r>
          </a:p>
        </p:txBody>
      </p:sp>
      <p:sp>
        <p:nvSpPr>
          <p:cNvPr id="22" name="TextBox 1"/>
          <p:cNvSpPr txBox="1"/>
          <p:nvPr/>
        </p:nvSpPr>
        <p:spPr>
          <a:xfrm>
            <a:off x="10109200" y="2768600"/>
            <a:ext cx="723900" cy="9398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159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lanning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15900" algn="l"/>
              </a:tabLst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Control</a:t>
            </a:r>
          </a:p>
        </p:txBody>
      </p:sp>
      <p:sp>
        <p:nvSpPr>
          <p:cNvPr id="23" name="TextBox 1"/>
          <p:cNvSpPr txBox="1"/>
          <p:nvPr/>
        </p:nvSpPr>
        <p:spPr>
          <a:xfrm>
            <a:off x="4406900" y="4203700"/>
            <a:ext cx="939800" cy="1651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7" b="1" i="0" u="none" strike="sng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Driver Stack</a:t>
            </a:r>
          </a:p>
        </p:txBody>
      </p:sp>
      <p:sp>
        <p:nvSpPr>
          <p:cNvPr id="24" name="TextBox 1"/>
          <p:cNvSpPr txBox="1"/>
          <p:nvPr/>
        </p:nvSpPr>
        <p:spPr>
          <a:xfrm>
            <a:off x="4381500" y="1536700"/>
            <a:ext cx="1181100" cy="1511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307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Software Stack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egister</a:t>
            </a:r>
            <a:r>
              <a:rPr kumimoji="0" lang="en-US" altLang="zh-CN" sz="978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over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ROS-Master</a:t>
            </a:r>
            <a:r>
              <a:rPr kumimoji="0" lang="en-US" altLang="zh-CN" sz="978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7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than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Publish/Subscribe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to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all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data</a:t>
            </a:r>
            <a:r>
              <a:rPr kumimoji="0" lang="en-US" altLang="zh-CN" sz="98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in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81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Network</a:t>
            </a:r>
          </a:p>
        </p:txBody>
      </p:sp>
      <p:sp>
        <p:nvSpPr>
          <p:cNvPr id="25" name="TextBox 1"/>
          <p:cNvSpPr txBox="1"/>
          <p:nvPr/>
        </p:nvSpPr>
        <p:spPr>
          <a:xfrm>
            <a:off x="279400" y="1511300"/>
            <a:ext cx="228600" cy="1714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20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4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20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</p:txBody>
      </p:sp>
      <p:sp>
        <p:nvSpPr>
          <p:cNvPr id="26" name="TextBox 1"/>
          <p:cNvSpPr txBox="1"/>
          <p:nvPr/>
        </p:nvSpPr>
        <p:spPr>
          <a:xfrm>
            <a:off x="685800" y="1612900"/>
            <a:ext cx="2921000" cy="19304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tandardise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W-framework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asic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dea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ora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obot</a:t>
            </a: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dependent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oftware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haring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</a:t>
            </a:r>
          </a:p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esearch</a:t>
            </a:r>
          </a:p>
          <a:p>
            <a:pPr marL="0" marR="0" lvl="0" indent="0" algn="l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urrentlyin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se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yotherOEM‘s:</a:t>
            </a: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818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 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MW,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AN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…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6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967876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68900" y="914400"/>
            <a:ext cx="6184900" cy="53975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21336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oftware-Stack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279400" y="1587500"/>
            <a:ext cx="228600" cy="4076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4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685800" y="1714500"/>
            <a:ext cx="4102100" cy="46101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uil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p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ifferen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ockerimages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: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as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tarting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oint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: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re</a:t>
            </a: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818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 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tandard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W(JupiterPrague/Cluj)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UDA11.0</a:t>
            </a:r>
          </a:p>
          <a:p>
            <a:pPr marL="0" marR="0" lvl="0" indent="0" algn="l" defTabSz="914400" rtl="0" eaLnBrk="1" fontAlgn="auto" latinLnBrk="0" hangingPunct="1">
              <a:lnSpc>
                <a:spcPts val="3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: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V-Extension</a:t>
            </a: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820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 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penCVSupport</a:t>
            </a:r>
          </a:p>
          <a:p>
            <a:pPr marL="0" marR="0" lvl="0" indent="0" algn="l" defTabSz="914400" rtl="0" eaLnBrk="1" fontAlgn="auto" latinLnBrk="0" hangingPunct="1">
              <a:lnSpc>
                <a:spcPts val="3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: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s</a:t>
            </a: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818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 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SDK</a:t>
            </a:r>
          </a:p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818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 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OS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vice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3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rivers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Each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rojec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houl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uil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op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al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with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ifferen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pendencie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dicated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ockerimag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7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746154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93900" y="1625600"/>
            <a:ext cx="8204200" cy="46228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28829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s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Fusion: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amera-Lida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8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39731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97000" y="1828800"/>
            <a:ext cx="9486900" cy="35941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32639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bserve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amera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dar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ointClou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9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6366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3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7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/>
                <a:ea typeface="+mj-ea"/>
                <a:cs typeface="Porsche Next TT" panose="020B0504020101010102" pitchFamily="34" charset="0"/>
              </a:rPr>
              <a:t>P</a:t>
            </a:r>
            <a:r>
              <a:rPr kumimoji="0" lang="en-US" altLang="zh-CN" sz="2600" b="1" i="0" u="none" strike="noStrike" kern="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/>
                <a:ea typeface="+mj-ea"/>
                <a:cs typeface="Porsche Next TT" panose="020B0504020101010102" pitchFamily="34" charset="0"/>
              </a:rPr>
              <a:t>roject Structure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18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53468" y="3320074"/>
            <a:ext cx="1083852" cy="559293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OBU 1</a:t>
            </a:r>
            <a:endParaRPr lang="zh-CN" altLang="en-US" dirty="0"/>
          </a:p>
        </p:txBody>
      </p:sp>
      <p:sp>
        <p:nvSpPr>
          <p:cNvPr id="19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53468" y="5378278"/>
            <a:ext cx="1083852" cy="559293"/>
          </a:xfrm>
          <a:prstGeom prst="roundRect">
            <a:avLst/>
          </a:prstGeom>
          <a:solidFill>
            <a:srgbClr val="A5A5A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OBU 2</a:t>
            </a:r>
            <a:endParaRPr lang="zh-CN" altLang="en-US" dirty="0"/>
          </a:p>
        </p:txBody>
      </p:sp>
      <p:sp>
        <p:nvSpPr>
          <p:cNvPr id="20" name="矩形: 圆角 3">
            <a:extLst>
              <a:ext uri="{FF2B5EF4-FFF2-40B4-BE49-F238E27FC236}">
                <a16:creationId xmlns:a16="http://schemas.microsoft.com/office/drawing/2014/main" id="{D6648072-F71C-38FF-341B-818D406704D5}"/>
              </a:ext>
            </a:extLst>
          </p:cNvPr>
          <p:cNvSpPr/>
          <p:nvPr/>
        </p:nvSpPr>
        <p:spPr>
          <a:xfrm>
            <a:off x="1018844" y="888820"/>
            <a:ext cx="10397301" cy="130307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1" name="文本框 4">
            <a:extLst>
              <a:ext uri="{FF2B5EF4-FFF2-40B4-BE49-F238E27FC236}">
                <a16:creationId xmlns:a16="http://schemas.microsoft.com/office/drawing/2014/main" id="{14B70F7B-11EA-F988-3C81-C0D5DD65A355}"/>
              </a:ext>
            </a:extLst>
          </p:cNvPr>
          <p:cNvSpPr txBox="1"/>
          <p:nvPr/>
        </p:nvSpPr>
        <p:spPr>
          <a:xfrm>
            <a:off x="5907747" y="1864397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PevaTec Carla</a:t>
            </a:r>
          </a:p>
        </p:txBody>
      </p:sp>
      <p:sp>
        <p:nvSpPr>
          <p:cNvPr id="22" name="矩形: 圆角 5">
            <a:extLst>
              <a:ext uri="{FF2B5EF4-FFF2-40B4-BE49-F238E27FC236}">
                <a16:creationId xmlns:a16="http://schemas.microsoft.com/office/drawing/2014/main" id="{ADD79E82-E782-1141-0329-5D148F19180B}"/>
              </a:ext>
            </a:extLst>
          </p:cNvPr>
          <p:cNvSpPr/>
          <p:nvPr/>
        </p:nvSpPr>
        <p:spPr>
          <a:xfrm>
            <a:off x="1862141" y="1153204"/>
            <a:ext cx="1781403" cy="55151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HV</a:t>
            </a:r>
          </a:p>
          <a:p>
            <a:pPr algn="ctr"/>
            <a:r>
              <a:rPr lang="en-US" altLang="zh-CN" dirty="0" smtClean="0"/>
              <a:t>(Host </a:t>
            </a:r>
            <a:r>
              <a:rPr lang="en-US" altLang="zh-CN" dirty="0"/>
              <a:t>Vehicle)</a:t>
            </a:r>
            <a:endParaRPr lang="zh-CN" altLang="en-US" dirty="0"/>
          </a:p>
        </p:txBody>
      </p:sp>
      <p:sp>
        <p:nvSpPr>
          <p:cNvPr id="23" name="矩形: 圆角 6">
            <a:extLst>
              <a:ext uri="{FF2B5EF4-FFF2-40B4-BE49-F238E27FC236}">
                <a16:creationId xmlns:a16="http://schemas.microsoft.com/office/drawing/2014/main" id="{1C75A3FF-3375-765A-7BBC-247541D74999}"/>
              </a:ext>
            </a:extLst>
          </p:cNvPr>
          <p:cNvSpPr/>
          <p:nvPr/>
        </p:nvSpPr>
        <p:spPr>
          <a:xfrm>
            <a:off x="4404070" y="1153204"/>
            <a:ext cx="1781404" cy="55151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RV</a:t>
            </a:r>
          </a:p>
          <a:p>
            <a:pPr algn="ctr"/>
            <a:r>
              <a:rPr lang="en-US" altLang="zh-CN" dirty="0"/>
              <a:t>(Remote Vehicle)</a:t>
            </a:r>
            <a:endParaRPr lang="zh-CN" altLang="en-US" dirty="0"/>
          </a:p>
        </p:txBody>
      </p:sp>
      <p:cxnSp>
        <p:nvCxnSpPr>
          <p:cNvPr id="24" name="直接箭头连接符 8">
            <a:extLst>
              <a:ext uri="{FF2B5EF4-FFF2-40B4-BE49-F238E27FC236}">
                <a16:creationId xmlns:a16="http://schemas.microsoft.com/office/drawing/2014/main" id="{AC17084F-492A-BC85-B8CD-6CAC8D6956C1}"/>
              </a:ext>
            </a:extLst>
          </p:cNvPr>
          <p:cNvCxnSpPr/>
          <p:nvPr/>
        </p:nvCxnSpPr>
        <p:spPr>
          <a:xfrm>
            <a:off x="2217613" y="1693867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箭头连接符 9">
            <a:extLst>
              <a:ext uri="{FF2B5EF4-FFF2-40B4-BE49-F238E27FC236}">
                <a16:creationId xmlns:a16="http://schemas.microsoft.com/office/drawing/2014/main" id="{62AE2116-A874-F190-AA2C-C84616435C25}"/>
              </a:ext>
            </a:extLst>
          </p:cNvPr>
          <p:cNvCxnSpPr/>
          <p:nvPr/>
        </p:nvCxnSpPr>
        <p:spPr>
          <a:xfrm>
            <a:off x="5787916" y="1693867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文本框 79">
            <a:extLst>
              <a:ext uri="{FF2B5EF4-FFF2-40B4-BE49-F238E27FC236}">
                <a16:creationId xmlns:a16="http://schemas.microsoft.com/office/drawing/2014/main" id="{0569FEC1-B86F-32BA-7DFC-43E95CD0BFCB}"/>
              </a:ext>
            </a:extLst>
          </p:cNvPr>
          <p:cNvSpPr txBox="1"/>
          <p:nvPr/>
        </p:nvSpPr>
        <p:spPr>
          <a:xfrm>
            <a:off x="2626663" y="2508629"/>
            <a:ext cx="30657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Carla-ROS-Bridge / Carla API</a:t>
            </a:r>
            <a:endParaRPr lang="en-US" altLang="zh-CN" dirty="0"/>
          </a:p>
        </p:txBody>
      </p:sp>
      <p:sp>
        <p:nvSpPr>
          <p:cNvPr id="27" name="矩形 14">
            <a:extLst>
              <a:ext uri="{FF2B5EF4-FFF2-40B4-BE49-F238E27FC236}">
                <a16:creationId xmlns:a16="http://schemas.microsoft.com/office/drawing/2014/main" id="{1F8FF050-09CA-775A-00CF-AC402A0992BF}"/>
              </a:ext>
            </a:extLst>
          </p:cNvPr>
          <p:cNvSpPr/>
          <p:nvPr/>
        </p:nvSpPr>
        <p:spPr>
          <a:xfrm>
            <a:off x="1862141" y="2478156"/>
            <a:ext cx="4323333" cy="449719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018845" y="2353252"/>
            <a:ext cx="6077581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: 圆角 16">
            <a:extLst>
              <a:ext uri="{FF2B5EF4-FFF2-40B4-BE49-F238E27FC236}">
                <a16:creationId xmlns:a16="http://schemas.microsoft.com/office/drawing/2014/main" id="{B9204781-C2CD-82C6-D959-716F5DCE8BB0}"/>
              </a:ext>
            </a:extLst>
          </p:cNvPr>
          <p:cNvSpPr/>
          <p:nvPr/>
        </p:nvSpPr>
        <p:spPr>
          <a:xfrm>
            <a:off x="1760976" y="3325590"/>
            <a:ext cx="4481183" cy="559293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Jupiter </a:t>
            </a:r>
            <a:r>
              <a:rPr lang="en-US" altLang="zh-CN" dirty="0" smtClean="0"/>
              <a:t>Twins Node</a:t>
            </a:r>
            <a:endParaRPr lang="zh-CN" altLang="en-US" dirty="0"/>
          </a:p>
        </p:txBody>
      </p:sp>
      <p:sp>
        <p:nvSpPr>
          <p:cNvPr id="30" name="矩形: 圆角 17">
            <a:extLst>
              <a:ext uri="{FF2B5EF4-FFF2-40B4-BE49-F238E27FC236}">
                <a16:creationId xmlns:a16="http://schemas.microsoft.com/office/drawing/2014/main" id="{99284322-0806-6CC9-9B63-BF844E7F54F0}"/>
              </a:ext>
            </a:extLst>
          </p:cNvPr>
          <p:cNvSpPr/>
          <p:nvPr/>
        </p:nvSpPr>
        <p:spPr>
          <a:xfrm>
            <a:off x="2027466" y="5394760"/>
            <a:ext cx="2699569" cy="559293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V2X Safety Function Node</a:t>
            </a:r>
          </a:p>
        </p:txBody>
      </p:sp>
      <p:cxnSp>
        <p:nvCxnSpPr>
          <p:cNvPr id="31" name="直接箭头连接符 10">
            <a:extLst>
              <a:ext uri="{FF2B5EF4-FFF2-40B4-BE49-F238E27FC236}">
                <a16:creationId xmlns:a16="http://schemas.microsoft.com/office/drawing/2014/main" id="{3E539011-3626-5CAA-4A3C-59BECA876184}"/>
              </a:ext>
            </a:extLst>
          </p:cNvPr>
          <p:cNvCxnSpPr>
            <a:cxnSpLocks/>
          </p:cNvCxnSpPr>
          <p:nvPr/>
        </p:nvCxnSpPr>
        <p:spPr>
          <a:xfrm flipV="1">
            <a:off x="3216915" y="1693867"/>
            <a:ext cx="0" cy="37008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直接箭头连接符 22">
            <a:extLst>
              <a:ext uri="{FF2B5EF4-FFF2-40B4-BE49-F238E27FC236}">
                <a16:creationId xmlns:a16="http://schemas.microsoft.com/office/drawing/2014/main" id="{74D195F7-E52B-07C9-D07E-DD2B1D91453C}"/>
              </a:ext>
            </a:extLst>
          </p:cNvPr>
          <p:cNvCxnSpPr/>
          <p:nvPr/>
        </p:nvCxnSpPr>
        <p:spPr>
          <a:xfrm>
            <a:off x="2217613" y="3884883"/>
            <a:ext cx="0" cy="1509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1546816" y="4107524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HV_Msg</a:t>
            </a:r>
            <a:endParaRPr lang="zh-CN" altLang="en-US" dirty="0"/>
          </a:p>
        </p:txBody>
      </p:sp>
      <p:sp>
        <p:nvSpPr>
          <p:cNvPr id="34" name="文本框 24">
            <a:extLst>
              <a:ext uri="{FF2B5EF4-FFF2-40B4-BE49-F238E27FC236}">
                <a16:creationId xmlns:a16="http://schemas.microsoft.com/office/drawing/2014/main" id="{1D4B74F3-739F-704D-1E93-884107093928}"/>
              </a:ext>
            </a:extLst>
          </p:cNvPr>
          <p:cNvSpPr txBox="1"/>
          <p:nvPr/>
        </p:nvSpPr>
        <p:spPr>
          <a:xfrm rot="16200000">
            <a:off x="6123461" y="4830173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V2X_Msg</a:t>
            </a:r>
            <a:endParaRPr lang="zh-CN" altLang="en-US" dirty="0"/>
          </a:p>
        </p:txBody>
      </p:sp>
      <p:sp>
        <p:nvSpPr>
          <p:cNvPr id="35" name="文本框 25">
            <a:extLst>
              <a:ext uri="{FF2B5EF4-FFF2-40B4-BE49-F238E27FC236}">
                <a16:creationId xmlns:a16="http://schemas.microsoft.com/office/drawing/2014/main" id="{DFB239A5-514E-6AF1-34E9-549EC832D90F}"/>
              </a:ext>
            </a:extLst>
          </p:cNvPr>
          <p:cNvSpPr txBox="1"/>
          <p:nvPr/>
        </p:nvSpPr>
        <p:spPr>
          <a:xfrm rot="16200000">
            <a:off x="6043626" y="3632495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RV_Msg</a:t>
            </a:r>
            <a:endParaRPr lang="zh-CN" altLang="en-US" dirty="0"/>
          </a:p>
        </p:txBody>
      </p:sp>
      <p:cxnSp>
        <p:nvCxnSpPr>
          <p:cNvPr id="36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5787916" y="3879367"/>
            <a:ext cx="0" cy="481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矩形: 圆角 34">
            <a:extLst>
              <a:ext uri="{FF2B5EF4-FFF2-40B4-BE49-F238E27FC236}">
                <a16:creationId xmlns:a16="http://schemas.microsoft.com/office/drawing/2014/main" id="{C3AE624C-25E1-38E0-93E4-341D4E72A568}"/>
              </a:ext>
            </a:extLst>
          </p:cNvPr>
          <p:cNvSpPr/>
          <p:nvPr/>
        </p:nvSpPr>
        <p:spPr>
          <a:xfrm>
            <a:off x="4593628" y="4359064"/>
            <a:ext cx="2258498" cy="559293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V2X ROS </a:t>
            </a:r>
            <a:r>
              <a:rPr lang="en-US" altLang="zh-CN" dirty="0" smtClean="0"/>
              <a:t>Driver Node</a:t>
            </a:r>
            <a:endParaRPr lang="en-US" altLang="zh-CN" dirty="0"/>
          </a:p>
        </p:txBody>
      </p:sp>
      <p:cxnSp>
        <p:nvCxnSpPr>
          <p:cNvPr id="38" name="直接箭头连接符 41">
            <a:extLst>
              <a:ext uri="{FF2B5EF4-FFF2-40B4-BE49-F238E27FC236}">
                <a16:creationId xmlns:a16="http://schemas.microsoft.com/office/drawing/2014/main" id="{0CD69044-95AD-2A80-7D88-B41422C825F3}"/>
              </a:ext>
            </a:extLst>
          </p:cNvPr>
          <p:cNvCxnSpPr>
            <a:stCxn id="18" idx="2"/>
            <a:endCxn id="19" idx="0"/>
          </p:cNvCxnSpPr>
          <p:nvPr/>
        </p:nvCxnSpPr>
        <p:spPr>
          <a:xfrm>
            <a:off x="10395394" y="3879367"/>
            <a:ext cx="0" cy="1498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连接符: 肘形 58">
            <a:extLst>
              <a:ext uri="{FF2B5EF4-FFF2-40B4-BE49-F238E27FC236}">
                <a16:creationId xmlns:a16="http://schemas.microsoft.com/office/drawing/2014/main" id="{9B54D8A8-FB70-D7F0-BA35-27A59AD5BD04}"/>
              </a:ext>
            </a:extLst>
          </p:cNvPr>
          <p:cNvCxnSpPr>
            <a:endCxn id="30" idx="3"/>
          </p:cNvCxnSpPr>
          <p:nvPr/>
        </p:nvCxnSpPr>
        <p:spPr>
          <a:xfrm rot="10800000" flipV="1">
            <a:off x="4727035" y="4929569"/>
            <a:ext cx="1093414" cy="744837"/>
          </a:xfrm>
          <a:prstGeom prst="bentConnector3">
            <a:avLst>
              <a:gd name="adj1" fmla="val -68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连接符: 肘形 60">
            <a:extLst>
              <a:ext uri="{FF2B5EF4-FFF2-40B4-BE49-F238E27FC236}">
                <a16:creationId xmlns:a16="http://schemas.microsoft.com/office/drawing/2014/main" id="{F2C7414F-F734-CEB5-1BC7-656AF04A8A70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6761000" y="3599721"/>
            <a:ext cx="3092468" cy="759017"/>
          </a:xfrm>
          <a:prstGeom prst="bentConnector3">
            <a:avLst>
              <a:gd name="adj1" fmla="val 12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连接符: 肘形 64">
            <a:extLst>
              <a:ext uri="{FF2B5EF4-FFF2-40B4-BE49-F238E27FC236}">
                <a16:creationId xmlns:a16="http://schemas.microsoft.com/office/drawing/2014/main" id="{B953843F-79E4-8845-88AA-2ACC9ABD8861}"/>
              </a:ext>
            </a:extLst>
          </p:cNvPr>
          <p:cNvCxnSpPr>
            <a:cxnSpLocks/>
            <a:stCxn id="19" idx="1"/>
          </p:cNvCxnSpPr>
          <p:nvPr/>
        </p:nvCxnSpPr>
        <p:spPr>
          <a:xfrm rot="10800000">
            <a:off x="6744960" y="4918357"/>
            <a:ext cx="3108509" cy="739568"/>
          </a:xfrm>
          <a:prstGeom prst="bentConnector3">
            <a:avLst>
              <a:gd name="adj1" fmla="val 9991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10706488" y="3976509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BSM_Msg</a:t>
            </a:r>
            <a:endParaRPr lang="zh-CN" altLang="en-US" dirty="0"/>
          </a:p>
        </p:txBody>
      </p:sp>
      <p:sp>
        <p:nvSpPr>
          <p:cNvPr id="43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3625978" y="6036928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ROS Environment</a:t>
            </a:r>
            <a:endParaRPr lang="en-US" altLang="zh-CN" dirty="0"/>
          </a:p>
        </p:txBody>
      </p:sp>
      <p:sp>
        <p:nvSpPr>
          <p:cNvPr id="44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7805826" y="4359064"/>
            <a:ext cx="2121242" cy="55929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Signal Generator</a:t>
            </a:r>
            <a:endParaRPr lang="zh-CN" altLang="en-US" dirty="0"/>
          </a:p>
        </p:txBody>
      </p:sp>
      <p:cxnSp>
        <p:nvCxnSpPr>
          <p:cNvPr id="45" name="Straight Arrow Connector 44"/>
          <p:cNvCxnSpPr>
            <a:stCxn id="44" idx="1"/>
            <a:endCxn id="37" idx="3"/>
          </p:cNvCxnSpPr>
          <p:nvPr/>
        </p:nvCxnSpPr>
        <p:spPr>
          <a:xfrm flipH="1">
            <a:off x="6852126" y="4638711"/>
            <a:ext cx="953700" cy="0"/>
          </a:xfrm>
          <a:prstGeom prst="straightConnector1">
            <a:avLst/>
          </a:prstGeom>
          <a:ln>
            <a:prstDash val="dash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671784" y="993189"/>
            <a:ext cx="4729018" cy="9130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124015" y="1170065"/>
            <a:ext cx="1458905" cy="559293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Carla Server</a:t>
            </a:r>
            <a:endParaRPr lang="zh-CN" altLang="en-US" dirty="0"/>
          </a:p>
        </p:txBody>
      </p:sp>
      <p:sp>
        <p:nvSpPr>
          <p:cNvPr id="48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3954637" y="1210064"/>
            <a:ext cx="461665" cy="11506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Scenario</a:t>
            </a:r>
            <a:endParaRPr lang="zh-CN" altLang="en-US" dirty="0"/>
          </a:p>
        </p:txBody>
      </p:sp>
      <p:cxnSp>
        <p:nvCxnSpPr>
          <p:cNvPr id="49" name="Straight Arrow Connector 48"/>
          <p:cNvCxnSpPr>
            <a:stCxn id="46" idx="3"/>
            <a:endCxn id="47" idx="1"/>
          </p:cNvCxnSpPr>
          <p:nvPr/>
        </p:nvCxnSpPr>
        <p:spPr>
          <a:xfrm>
            <a:off x="6400802" y="1449712"/>
            <a:ext cx="27232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7839599" y="1076980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TCP/IP</a:t>
            </a:r>
            <a:endParaRPr lang="zh-CN" altLang="en-US" dirty="0"/>
          </a:p>
        </p:txBody>
      </p:sp>
      <p:sp>
        <p:nvSpPr>
          <p:cNvPr id="51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7103791" y="2353252"/>
            <a:ext cx="4312355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8826101" y="6024453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V2X Syste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16506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927100"/>
            <a:ext cx="11544300" cy="53975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48133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bserve/Orient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LAM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</a:t>
            </a:r>
            <a:r>
              <a:rPr kumimoji="0" lang="en-US" altLang="zh-CN" sz="1997" b="0" i="1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imultaneou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1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ocalisatio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1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1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apping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)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19100" y="1549400"/>
            <a:ext cx="228600" cy="444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825500" y="1663700"/>
            <a:ext cx="6134100" cy="10287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LAM/Localisation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2081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darbased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oASLAM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lgorithm</a:t>
            </a:r>
          </a:p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2081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velopment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a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ncept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o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alyse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ocalization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quality/performanc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noProof="0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4007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78000" y="1524000"/>
            <a:ext cx="8636000" cy="48768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75819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bserve/Orient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rtificial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telligenc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AI):„OnlineAI-base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multimodal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cen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terpretation“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noProof="0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1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908908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2000" y="1765300"/>
            <a:ext cx="10782300" cy="40513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24892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bserve/Orient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rtificial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telligenc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(AI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noProof="0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2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50752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800" y="1460500"/>
            <a:ext cx="10947400" cy="48641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32893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cide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dar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ase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reespac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tec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noProof="0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3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71270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41500" y="1397000"/>
            <a:ext cx="8394700" cy="47498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32893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cide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Lidar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ase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reespac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tec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noProof="0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4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1281784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93900" y="1625600"/>
            <a:ext cx="8204200" cy="4622800"/>
          </a:xfrm>
          <a:prstGeom prst="rect">
            <a:avLst/>
          </a:prstGeom>
          <a:noFill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8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30200" y="571500"/>
            <a:ext cx="26797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cide/Act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se-Cas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eversingAssis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noProof="0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5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4373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7999 h 6858000"/>
              <a:gd name="connsiteX1" fmla="*/ 12192000 w 12192000"/>
              <a:gd name="connsiteY1" fmla="*/ 6857999 h 6858000"/>
              <a:gd name="connsiteX2" fmla="*/ 12192000 w 12192000"/>
              <a:gd name="connsiteY2" fmla="*/ 0 h 6858000"/>
              <a:gd name="connsiteX3" fmla="*/ 0 w 12192000"/>
              <a:gd name="connsiteY3" fmla="*/ 0 h 6858000"/>
              <a:gd name="connsiteX4" fmla="*/ 0 w 12192000"/>
              <a:gd name="connsiteY4" fmla="*/ 6857999 h 68580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6857999"/>
                </a:moveTo>
                <a:lnTo>
                  <a:pt x="12192000" y="6857999"/>
                </a:lnTo>
                <a:lnTo>
                  <a:pt x="12192000" y="0"/>
                </a:lnTo>
                <a:lnTo>
                  <a:pt x="0" y="0"/>
                </a:lnTo>
                <a:lnTo>
                  <a:pt x="0" y="685799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7" name="TextBox 1"/>
          <p:cNvSpPr txBox="1"/>
          <p:nvPr/>
        </p:nvSpPr>
        <p:spPr>
          <a:xfrm>
            <a:off x="5588000" y="6489700"/>
            <a:ext cx="1003300" cy="3683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–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G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419100" y="1651000"/>
            <a:ext cx="228600" cy="3683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4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4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2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&gt;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825500" y="1765300"/>
            <a:ext cx="9937016" cy="397031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as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roofofConcept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orSoAAlgorithms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2081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mmon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velopmentTime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6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M</a:t>
            </a:r>
          </a:p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2081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Big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ROS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mmunityto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olve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pcoming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ssues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efficiently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pe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o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vera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wid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varityofdifferen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Use-Case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ndApplication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h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ield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: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2081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,AI,V2X,Simulation,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ensorBenchmark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...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tegratio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 project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tha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re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lose-to-series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tegration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falgorithms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from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artnerlocations</a:t>
            </a:r>
          </a:p>
          <a:p>
            <a:pPr marL="0" marR="0" lvl="0" indent="0" algn="l" defTabSz="9144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9700" algn="l"/>
              </a:tabLst>
              <a:defRPr/>
            </a:pPr>
            <a:r>
              <a:rPr kumimoji="0" lang="en-US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	</a:t>
            </a:r>
            <a:r>
              <a:rPr kumimoji="0" lang="en-US" altLang="zh-CN" sz="2081" b="0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Symbol" pitchFamily="18" charset="0"/>
                <a:ea typeface="宋体" panose="02010600030101010101" pitchFamily="2" charset="-122"/>
                <a:cs typeface="Symbol" pitchFamily="18" charset="0"/>
              </a:rPr>
              <a:t>−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    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International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DevelopmentTeam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works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n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one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common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60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W-Stack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330200" y="571500"/>
            <a:ext cx="2984500" cy="8255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97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Summary&amp;Outlook</a:t>
            </a:r>
          </a:p>
          <a:p>
            <a:pPr marL="0" marR="0" lvl="0" indent="0" algn="l" defTabSz="914400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JupiterDevelopment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宋体" panose="02010600030101010101" pitchFamily="2" charset="-122"/>
                <a:cs typeface="Times New Roman" pitchFamily="18" charset="0"/>
              </a:rPr>
              <a:t> </a:t>
            </a:r>
            <a:r>
              <a:rPr kumimoji="0" lang="en-US" altLang="zh-CN" sz="1997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latform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  <a:r>
              <a:rPr lang="en-US" altLang="zh-CN" sz="1097" noProof="0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36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966670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4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7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/>
                <a:ea typeface="+mj-ea"/>
                <a:cs typeface="Porsche Next TT" panose="020B0504020101010102" pitchFamily="34" charset="0"/>
              </a:rPr>
              <a:t>S</a:t>
            </a:r>
            <a:r>
              <a:rPr kumimoji="0" lang="en-US" altLang="zh-CN" sz="2600" b="1" i="0" u="none" strike="noStrike" kern="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/>
                <a:ea typeface="+mj-ea"/>
                <a:cs typeface="Porsche Next TT" panose="020B0504020101010102" pitchFamily="34" charset="0"/>
              </a:rPr>
              <a:t>cenario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47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653315" y="979553"/>
            <a:ext cx="4729018" cy="9130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3306438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49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5364642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0" name="矩形: 圆角 3">
            <a:extLst>
              <a:ext uri="{FF2B5EF4-FFF2-40B4-BE49-F238E27FC236}">
                <a16:creationId xmlns:a16="http://schemas.microsoft.com/office/drawing/2014/main" id="{D6648072-F71C-38FF-341B-818D406704D5}"/>
              </a:ext>
            </a:extLst>
          </p:cNvPr>
          <p:cNvSpPr/>
          <p:nvPr/>
        </p:nvSpPr>
        <p:spPr>
          <a:xfrm>
            <a:off x="1000375" y="868249"/>
            <a:ext cx="10397302" cy="131000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1" name="文本框 4">
            <a:extLst>
              <a:ext uri="{FF2B5EF4-FFF2-40B4-BE49-F238E27FC236}">
                <a16:creationId xmlns:a16="http://schemas.microsoft.com/office/drawing/2014/main" id="{14B70F7B-11EA-F988-3C81-C0D5DD65A355}"/>
              </a:ext>
            </a:extLst>
          </p:cNvPr>
          <p:cNvSpPr txBox="1"/>
          <p:nvPr/>
        </p:nvSpPr>
        <p:spPr>
          <a:xfrm>
            <a:off x="5676138" y="1879054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PevaTec Carla</a:t>
            </a:r>
          </a:p>
        </p:txBody>
      </p:sp>
      <p:sp>
        <p:nvSpPr>
          <p:cNvPr id="52" name="矩形: 圆角 5">
            <a:extLst>
              <a:ext uri="{FF2B5EF4-FFF2-40B4-BE49-F238E27FC236}">
                <a16:creationId xmlns:a16="http://schemas.microsoft.com/office/drawing/2014/main" id="{ADD79E82-E782-1141-0329-5D148F19180B}"/>
              </a:ext>
            </a:extLst>
          </p:cNvPr>
          <p:cNvSpPr/>
          <p:nvPr/>
        </p:nvSpPr>
        <p:spPr>
          <a:xfrm>
            <a:off x="1843672" y="1139568"/>
            <a:ext cx="1781403" cy="55151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H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Host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3" name="矩形: 圆角 6">
            <a:extLst>
              <a:ext uri="{FF2B5EF4-FFF2-40B4-BE49-F238E27FC236}">
                <a16:creationId xmlns:a16="http://schemas.microsoft.com/office/drawing/2014/main" id="{1C75A3FF-3375-765A-7BBC-247541D74999}"/>
              </a:ext>
            </a:extLst>
          </p:cNvPr>
          <p:cNvSpPr/>
          <p:nvPr/>
        </p:nvSpPr>
        <p:spPr>
          <a:xfrm>
            <a:off x="4385601" y="1139568"/>
            <a:ext cx="1781404" cy="55151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R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Remote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54" name="直接箭头连接符 8">
            <a:extLst>
              <a:ext uri="{FF2B5EF4-FFF2-40B4-BE49-F238E27FC236}">
                <a16:creationId xmlns:a16="http://schemas.microsoft.com/office/drawing/2014/main" id="{AC17084F-492A-BC85-B8CD-6CAC8D6956C1}"/>
              </a:ext>
            </a:extLst>
          </p:cNvPr>
          <p:cNvCxnSpPr/>
          <p:nvPr/>
        </p:nvCxnSpPr>
        <p:spPr>
          <a:xfrm>
            <a:off x="2199144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箭头连接符 9">
            <a:extLst>
              <a:ext uri="{FF2B5EF4-FFF2-40B4-BE49-F238E27FC236}">
                <a16:creationId xmlns:a16="http://schemas.microsoft.com/office/drawing/2014/main" id="{62AE2116-A874-F190-AA2C-C84616435C25}"/>
              </a:ext>
            </a:extLst>
          </p:cNvPr>
          <p:cNvCxnSpPr/>
          <p:nvPr/>
        </p:nvCxnSpPr>
        <p:spPr>
          <a:xfrm>
            <a:off x="5769447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文本框 79">
            <a:extLst>
              <a:ext uri="{FF2B5EF4-FFF2-40B4-BE49-F238E27FC236}">
                <a16:creationId xmlns:a16="http://schemas.microsoft.com/office/drawing/2014/main" id="{0569FEC1-B86F-32BA-7DFC-43E95CD0BFCB}"/>
              </a:ext>
            </a:extLst>
          </p:cNvPr>
          <p:cNvSpPr txBox="1"/>
          <p:nvPr/>
        </p:nvSpPr>
        <p:spPr>
          <a:xfrm>
            <a:off x="2608194" y="2494993"/>
            <a:ext cx="30657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Carla-ROS-Bridge / Carla API</a:t>
            </a:r>
            <a:endParaRPr lang="en-US" altLang="zh-CN" dirty="0"/>
          </a:p>
        </p:txBody>
      </p:sp>
      <p:sp>
        <p:nvSpPr>
          <p:cNvPr id="57" name="矩形 14">
            <a:extLst>
              <a:ext uri="{FF2B5EF4-FFF2-40B4-BE49-F238E27FC236}">
                <a16:creationId xmlns:a16="http://schemas.microsoft.com/office/drawing/2014/main" id="{1F8FF050-09CA-775A-00CF-AC402A0992BF}"/>
              </a:ext>
            </a:extLst>
          </p:cNvPr>
          <p:cNvSpPr/>
          <p:nvPr/>
        </p:nvSpPr>
        <p:spPr>
          <a:xfrm>
            <a:off x="1843672" y="2464520"/>
            <a:ext cx="4323333" cy="449719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000376" y="2339616"/>
            <a:ext cx="6077581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矩形: 圆角 16">
            <a:extLst>
              <a:ext uri="{FF2B5EF4-FFF2-40B4-BE49-F238E27FC236}">
                <a16:creationId xmlns:a16="http://schemas.microsoft.com/office/drawing/2014/main" id="{B9204781-C2CD-82C6-D959-716F5DCE8BB0}"/>
              </a:ext>
            </a:extLst>
          </p:cNvPr>
          <p:cNvSpPr/>
          <p:nvPr/>
        </p:nvSpPr>
        <p:spPr>
          <a:xfrm>
            <a:off x="1742507" y="3311954"/>
            <a:ext cx="448118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Jupiter </a:t>
            </a:r>
            <a:r>
              <a:rPr lang="en-US" altLang="zh-CN" dirty="0" smtClean="0">
                <a:solidFill>
                  <a:schemeClr val="tx1"/>
                </a:solidFill>
              </a:rPr>
              <a:t>Twins Node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矩形: 圆角 17">
            <a:extLst>
              <a:ext uri="{FF2B5EF4-FFF2-40B4-BE49-F238E27FC236}">
                <a16:creationId xmlns:a16="http://schemas.microsoft.com/office/drawing/2014/main" id="{99284322-0806-6CC9-9B63-BF844E7F54F0}"/>
              </a:ext>
            </a:extLst>
          </p:cNvPr>
          <p:cNvSpPr/>
          <p:nvPr/>
        </p:nvSpPr>
        <p:spPr>
          <a:xfrm>
            <a:off x="2008997" y="5381124"/>
            <a:ext cx="2699569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Safety Function Node</a:t>
            </a:r>
          </a:p>
        </p:txBody>
      </p:sp>
      <p:cxnSp>
        <p:nvCxnSpPr>
          <p:cNvPr id="61" name="直接箭头连接符 10">
            <a:extLst>
              <a:ext uri="{FF2B5EF4-FFF2-40B4-BE49-F238E27FC236}">
                <a16:creationId xmlns:a16="http://schemas.microsoft.com/office/drawing/2014/main" id="{3E539011-3626-5CAA-4A3C-59BECA876184}"/>
              </a:ext>
            </a:extLst>
          </p:cNvPr>
          <p:cNvCxnSpPr>
            <a:cxnSpLocks/>
          </p:cNvCxnSpPr>
          <p:nvPr/>
        </p:nvCxnSpPr>
        <p:spPr>
          <a:xfrm flipV="1">
            <a:off x="3198446" y="1680231"/>
            <a:ext cx="0" cy="37008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箭头连接符 22">
            <a:extLst>
              <a:ext uri="{FF2B5EF4-FFF2-40B4-BE49-F238E27FC236}">
                <a16:creationId xmlns:a16="http://schemas.microsoft.com/office/drawing/2014/main" id="{74D195F7-E52B-07C9-D07E-DD2B1D91453C}"/>
              </a:ext>
            </a:extLst>
          </p:cNvPr>
          <p:cNvCxnSpPr/>
          <p:nvPr/>
        </p:nvCxnSpPr>
        <p:spPr>
          <a:xfrm>
            <a:off x="2199144" y="3871247"/>
            <a:ext cx="0" cy="1509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1528347" y="4093888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HV_Msg</a:t>
            </a:r>
            <a:endParaRPr lang="zh-CN" altLang="en-US" dirty="0"/>
          </a:p>
        </p:txBody>
      </p:sp>
      <p:sp>
        <p:nvSpPr>
          <p:cNvPr id="64" name="文本框 24">
            <a:extLst>
              <a:ext uri="{FF2B5EF4-FFF2-40B4-BE49-F238E27FC236}">
                <a16:creationId xmlns:a16="http://schemas.microsoft.com/office/drawing/2014/main" id="{1D4B74F3-739F-704D-1E93-884107093928}"/>
              </a:ext>
            </a:extLst>
          </p:cNvPr>
          <p:cNvSpPr txBox="1"/>
          <p:nvPr/>
        </p:nvSpPr>
        <p:spPr>
          <a:xfrm rot="16200000">
            <a:off x="6067795" y="477229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V2X_Msg</a:t>
            </a:r>
            <a:endParaRPr lang="zh-CN" altLang="en-US" dirty="0"/>
          </a:p>
        </p:txBody>
      </p:sp>
      <p:sp>
        <p:nvSpPr>
          <p:cNvPr id="65" name="文本框 25">
            <a:extLst>
              <a:ext uri="{FF2B5EF4-FFF2-40B4-BE49-F238E27FC236}">
                <a16:creationId xmlns:a16="http://schemas.microsoft.com/office/drawing/2014/main" id="{DFB239A5-514E-6AF1-34E9-549EC832D90F}"/>
              </a:ext>
            </a:extLst>
          </p:cNvPr>
          <p:cNvSpPr txBox="1"/>
          <p:nvPr/>
        </p:nvSpPr>
        <p:spPr>
          <a:xfrm rot="16200000">
            <a:off x="6025157" y="3618859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RV_Msg</a:t>
            </a:r>
            <a:endParaRPr lang="zh-CN" altLang="en-US" dirty="0"/>
          </a:p>
        </p:txBody>
      </p:sp>
      <p:cxnSp>
        <p:nvCxnSpPr>
          <p:cNvPr id="66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5769447" y="3865731"/>
            <a:ext cx="0" cy="481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矩形: 圆角 34">
            <a:extLst>
              <a:ext uri="{FF2B5EF4-FFF2-40B4-BE49-F238E27FC236}">
                <a16:creationId xmlns:a16="http://schemas.microsoft.com/office/drawing/2014/main" id="{C3AE624C-25E1-38E0-93E4-341D4E72A568}"/>
              </a:ext>
            </a:extLst>
          </p:cNvPr>
          <p:cNvSpPr/>
          <p:nvPr/>
        </p:nvSpPr>
        <p:spPr>
          <a:xfrm>
            <a:off x="4722264" y="4354664"/>
            <a:ext cx="225113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ROS </a:t>
            </a:r>
            <a:r>
              <a:rPr lang="en-US" altLang="zh-CN" dirty="0" smtClean="0">
                <a:solidFill>
                  <a:schemeClr val="tx1"/>
                </a:solidFill>
              </a:rPr>
              <a:t>Driver Node</a:t>
            </a:r>
            <a:endParaRPr lang="en-US" altLang="zh-CN" dirty="0">
              <a:solidFill>
                <a:schemeClr val="tx1"/>
              </a:solidFill>
            </a:endParaRPr>
          </a:p>
        </p:txBody>
      </p:sp>
      <p:cxnSp>
        <p:nvCxnSpPr>
          <p:cNvPr id="68" name="直接箭头连接符 41">
            <a:extLst>
              <a:ext uri="{FF2B5EF4-FFF2-40B4-BE49-F238E27FC236}">
                <a16:creationId xmlns:a16="http://schemas.microsoft.com/office/drawing/2014/main" id="{0CD69044-95AD-2A80-7D88-B41422C825F3}"/>
              </a:ext>
            </a:extLst>
          </p:cNvPr>
          <p:cNvCxnSpPr>
            <a:stCxn id="48" idx="2"/>
            <a:endCxn id="49" idx="0"/>
          </p:cNvCxnSpPr>
          <p:nvPr/>
        </p:nvCxnSpPr>
        <p:spPr>
          <a:xfrm>
            <a:off x="10376925" y="3865731"/>
            <a:ext cx="0" cy="1498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连接符: 肘形 58">
            <a:extLst>
              <a:ext uri="{FF2B5EF4-FFF2-40B4-BE49-F238E27FC236}">
                <a16:creationId xmlns:a16="http://schemas.microsoft.com/office/drawing/2014/main" id="{9B54D8A8-FB70-D7F0-BA35-27A59AD5BD04}"/>
              </a:ext>
            </a:extLst>
          </p:cNvPr>
          <p:cNvCxnSpPr>
            <a:endCxn id="60" idx="3"/>
          </p:cNvCxnSpPr>
          <p:nvPr/>
        </p:nvCxnSpPr>
        <p:spPr>
          <a:xfrm rot="10800000" flipV="1">
            <a:off x="4708566" y="4915933"/>
            <a:ext cx="1093414" cy="744837"/>
          </a:xfrm>
          <a:prstGeom prst="bentConnector3">
            <a:avLst>
              <a:gd name="adj1" fmla="val 354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连接符: 肘形 60">
            <a:extLst>
              <a:ext uri="{FF2B5EF4-FFF2-40B4-BE49-F238E27FC236}">
                <a16:creationId xmlns:a16="http://schemas.microsoft.com/office/drawing/2014/main" id="{F2C7414F-F734-CEB5-1BC7-656AF04A8A70}"/>
              </a:ext>
            </a:extLst>
          </p:cNvPr>
          <p:cNvCxnSpPr>
            <a:cxnSpLocks/>
            <a:endCxn id="48" idx="1"/>
          </p:cNvCxnSpPr>
          <p:nvPr/>
        </p:nvCxnSpPr>
        <p:spPr>
          <a:xfrm flipV="1">
            <a:off x="6920933" y="3586085"/>
            <a:ext cx="2914066" cy="773303"/>
          </a:xfrm>
          <a:prstGeom prst="bentConnector3">
            <a:avLst>
              <a:gd name="adj1" fmla="val 23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连接符: 肘形 64">
            <a:extLst>
              <a:ext uri="{FF2B5EF4-FFF2-40B4-BE49-F238E27FC236}">
                <a16:creationId xmlns:a16="http://schemas.microsoft.com/office/drawing/2014/main" id="{B953843F-79E4-8845-88AA-2ACC9ABD8861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>
            <a:off x="6920933" y="4909235"/>
            <a:ext cx="2914067" cy="735055"/>
          </a:xfrm>
          <a:prstGeom prst="bentConnector3">
            <a:avLst>
              <a:gd name="adj1" fmla="val 9976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10688019" y="3962873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BSM_Msg</a:t>
            </a:r>
            <a:endParaRPr lang="zh-CN" altLang="en-US" dirty="0"/>
          </a:p>
        </p:txBody>
      </p:sp>
      <p:sp>
        <p:nvSpPr>
          <p:cNvPr id="73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3607509" y="6023292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ROS Environment</a:t>
            </a:r>
            <a:endParaRPr lang="en-US" altLang="zh-CN" dirty="0"/>
          </a:p>
        </p:txBody>
      </p:sp>
      <p:sp>
        <p:nvSpPr>
          <p:cNvPr id="74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7787357" y="4354664"/>
            <a:ext cx="212124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Signal Generator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75" name="Straight Arrow Connector 74"/>
          <p:cNvCxnSpPr>
            <a:stCxn id="74" idx="1"/>
            <a:endCxn id="67" idx="3"/>
          </p:cNvCxnSpPr>
          <p:nvPr/>
        </p:nvCxnSpPr>
        <p:spPr>
          <a:xfrm flipH="1">
            <a:off x="6973397" y="4634311"/>
            <a:ext cx="813960" cy="0"/>
          </a:xfrm>
          <a:prstGeom prst="straightConnector1">
            <a:avLst/>
          </a:prstGeom>
          <a:ln>
            <a:prstDash val="dash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105546" y="1156429"/>
            <a:ext cx="1458905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Carla Server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77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3936168" y="1196428"/>
            <a:ext cx="461665" cy="11506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Scenario</a:t>
            </a:r>
            <a:endParaRPr lang="zh-CN" altLang="en-US" dirty="0"/>
          </a:p>
        </p:txBody>
      </p:sp>
      <p:cxnSp>
        <p:nvCxnSpPr>
          <p:cNvPr id="78" name="Straight Arrow Connector 77"/>
          <p:cNvCxnSpPr>
            <a:stCxn id="47" idx="3"/>
            <a:endCxn id="76" idx="1"/>
          </p:cNvCxnSpPr>
          <p:nvPr/>
        </p:nvCxnSpPr>
        <p:spPr>
          <a:xfrm>
            <a:off x="6382333" y="1436076"/>
            <a:ext cx="27232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7821130" y="106334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TCP/IP</a:t>
            </a:r>
            <a:endParaRPr lang="zh-CN" altLang="en-US" dirty="0"/>
          </a:p>
        </p:txBody>
      </p:sp>
      <p:sp>
        <p:nvSpPr>
          <p:cNvPr id="80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7085322" y="2339616"/>
            <a:ext cx="4312355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8807632" y="6010817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V2X Syste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3453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5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8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>
                <a:latin typeface="Porsche Next TT"/>
              </a:rPr>
              <a:t>Scenario Description (demo </a:t>
            </a:r>
            <a:r>
              <a:rPr lang="en-US" kern="0" dirty="0" smtClean="0">
                <a:latin typeface="Porsche Next TT"/>
              </a:rPr>
              <a:t>1: Forward Collision Warning)</a:t>
            </a:r>
            <a:endParaRPr lang="en-US" kern="0" dirty="0">
              <a:latin typeface="Porsche Next TT"/>
            </a:endParaRPr>
          </a:p>
        </p:txBody>
      </p:sp>
      <p:sp>
        <p:nvSpPr>
          <p:cNvPr id="9" name="Oval 8"/>
          <p:cNvSpPr/>
          <p:nvPr/>
        </p:nvSpPr>
        <p:spPr>
          <a:xfrm>
            <a:off x="3307878" y="880653"/>
            <a:ext cx="180923" cy="19343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Rectangle 9"/>
          <p:cNvSpPr/>
          <p:nvPr/>
        </p:nvSpPr>
        <p:spPr>
          <a:xfrm>
            <a:off x="3213577" y="3724208"/>
            <a:ext cx="406400" cy="6719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3932159" y="4600455"/>
            <a:ext cx="16838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emote vehicle</a:t>
            </a:r>
          </a:p>
        </p:txBody>
      </p:sp>
      <p:sp>
        <p:nvSpPr>
          <p:cNvPr id="14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4684685" y="2039890"/>
            <a:ext cx="5576916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ctors: Ego vehicle + 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emote 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vehicle</a:t>
            </a: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ap: </a:t>
            </a:r>
            <a:r>
              <a:rPr lang="en-US" altLang="zh-CN" sz="160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ripLake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eather: Sunny</a:t>
            </a:r>
          </a:p>
          <a:p>
            <a:pPr>
              <a:defRPr/>
            </a:pP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Tool: Scenario Runner</a:t>
            </a:r>
          </a:p>
          <a:p>
            <a:pPr>
              <a:defRPr/>
            </a:pP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ensors: radar, </a:t>
            </a:r>
            <a:r>
              <a:rPr lang="en-US" altLang="zh-CN" sz="160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lidar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 front camera, depth camera, semantic camera, </a:t>
            </a:r>
            <a:r>
              <a:rPr lang="en-US" altLang="zh-CN" sz="160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gnss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 </a:t>
            </a:r>
            <a:r>
              <a:rPr lang="en-US" altLang="zh-CN" sz="160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imu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</a:p>
          <a:p>
            <a:pPr>
              <a:defRPr/>
            </a:pP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2182401" y="857067"/>
            <a:ext cx="13898" cy="55252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2946400" y="857067"/>
            <a:ext cx="39584" cy="554919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3804702" y="1291177"/>
            <a:ext cx="43637" cy="512846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491835" y="1797451"/>
            <a:ext cx="13103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rake poin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191092" y="1990530"/>
            <a:ext cx="406400" cy="669636"/>
          </a:xfrm>
          <a:prstGeom prst="rect">
            <a:avLst/>
          </a:prstGeom>
          <a:noFill/>
          <a:ln>
            <a:solidFill>
              <a:srgbClr val="FFC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" name="Graphic 4">
            <a:extLst>
              <a:ext uri="{FF2B5EF4-FFF2-40B4-BE49-F238E27FC236}">
                <a16:creationId xmlns:a16="http://schemas.microsoft.com/office/drawing/2014/main" id="{D15C5CB5-CF7E-498C-A7CC-D2323487C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 rot="18453768">
            <a:off x="2559891" y="849820"/>
            <a:ext cx="741343" cy="74134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195140" y="1016072"/>
            <a:ext cx="406400" cy="671945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2" name="Straight Arrow Connector 21"/>
          <p:cNvCxnSpPr>
            <a:stCxn id="18" idx="3"/>
            <a:endCxn id="9" idx="3"/>
          </p:cNvCxnSpPr>
          <p:nvPr/>
        </p:nvCxnSpPr>
        <p:spPr>
          <a:xfrm flipV="1">
            <a:off x="1802194" y="1045760"/>
            <a:ext cx="1532180" cy="92096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3171540" y="5282598"/>
            <a:ext cx="633162" cy="669636"/>
            <a:chOff x="2339690" y="5897417"/>
            <a:chExt cx="633162" cy="669636"/>
          </a:xfrm>
        </p:grpSpPr>
        <p:sp>
          <p:nvSpPr>
            <p:cNvPr id="24" name="Rectangle 23"/>
            <p:cNvSpPr/>
            <p:nvPr/>
          </p:nvSpPr>
          <p:spPr>
            <a:xfrm>
              <a:off x="2401455" y="5897417"/>
              <a:ext cx="406400" cy="669636"/>
            </a:xfrm>
            <a:prstGeom prst="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文本框 10">
              <a:extLst>
                <a:ext uri="{FF2B5EF4-FFF2-40B4-BE49-F238E27FC236}">
                  <a16:creationId xmlns:a16="http://schemas.microsoft.com/office/drawing/2014/main" id="{DDD4C2DB-5870-4282-986B-012E684CFB97}"/>
                </a:ext>
              </a:extLst>
            </p:cNvPr>
            <p:cNvSpPr txBox="1"/>
            <p:nvPr/>
          </p:nvSpPr>
          <p:spPr>
            <a:xfrm>
              <a:off x="2339690" y="6046360"/>
              <a:ext cx="63316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Ego</a:t>
              </a:r>
            </a:p>
          </p:txBody>
        </p:sp>
      </p:grpSp>
      <p:cxnSp>
        <p:nvCxnSpPr>
          <p:cNvPr id="27" name="Straight Connector 26"/>
          <p:cNvCxnSpPr>
            <a:endCxn id="10" idx="3"/>
          </p:cNvCxnSpPr>
          <p:nvPr/>
        </p:nvCxnSpPr>
        <p:spPr>
          <a:xfrm flipH="1" flipV="1">
            <a:off x="3619977" y="4060181"/>
            <a:ext cx="438624" cy="550717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30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6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342900" y="552450"/>
            <a:ext cx="11506200" cy="431800"/>
          </a:xfrm>
          <a:prstGeom prst="rect">
            <a:avLst/>
          </a:prstGeom>
        </p:spPr>
        <p:txBody>
          <a:bodyPr lIns="0" tIns="1651" rIns="0" bIns="1651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 baseline="0">
                <a:solidFill>
                  <a:schemeClr val="accent1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5pPr>
            <a:lvl6pPr marL="54802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6pPr>
            <a:lvl7pPr marL="109604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7pPr>
            <a:lvl8pPr marL="1644064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8pPr>
            <a:lvl9pPr marL="2192086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rPr>
              <a:t>ScenarioRunner – FCW scenario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16" name="Subtitle 3"/>
          <p:cNvSpPr txBox="1">
            <a:spLocks/>
          </p:cNvSpPr>
          <p:nvPr/>
        </p:nvSpPr>
        <p:spPr>
          <a:xfrm>
            <a:off x="342900" y="1009650"/>
            <a:ext cx="11506200" cy="431800"/>
          </a:xfrm>
          <a:prstGeom prst="rect">
            <a:avLst/>
          </a:prstGeom>
        </p:spPr>
        <p:txBody>
          <a:bodyPr lIns="0" tIns="1651" rIns="0" bIns="1651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b="0" kern="1200" baseline="0">
                <a:solidFill>
                  <a:srgbClr val="A9AAAC"/>
                </a:solidFill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defRPr>
            </a:lvl1pPr>
            <a:lvl2pPr marL="548022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3356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2pPr>
            <a:lvl3pPr marL="1096042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77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3pPr>
            <a:lvl4pPr marL="1644064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4pPr>
            <a:lvl5pPr marL="2192086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5pPr>
            <a:lvl6pPr marL="2740106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88128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36149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4170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rPr>
              <a:t>FCW scenario created using pyTrees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A9AAAC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Porsche Next TT" panose="020B0504020101010102" pitchFamily="34" charset="0"/>
            </a:endParaRPr>
          </a:p>
        </p:txBody>
      </p:sp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3619343385"/>
              </p:ext>
            </p:extLst>
          </p:nvPr>
        </p:nvGraphicFramePr>
        <p:xfrm>
          <a:off x="192300" y="555625"/>
          <a:ext cx="11820525" cy="5934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30277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7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8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>
                <a:latin typeface="Porsche Next TT"/>
              </a:rPr>
              <a:t>Scenario Description </a:t>
            </a:r>
            <a:r>
              <a:rPr lang="en-US" kern="0" dirty="0" smtClean="0">
                <a:latin typeface="Porsche Next TT"/>
              </a:rPr>
              <a:t>(</a:t>
            </a:r>
            <a:r>
              <a:rPr lang="en-US" kern="0" dirty="0">
                <a:latin typeface="Porsche Next TT"/>
              </a:rPr>
              <a:t>demo 2</a:t>
            </a:r>
            <a:r>
              <a:rPr lang="en-US" kern="0" dirty="0" smtClean="0">
                <a:latin typeface="Porsche Next TT"/>
              </a:rPr>
              <a:t>: Side </a:t>
            </a:r>
            <a:r>
              <a:rPr lang="en-US" kern="0" dirty="0">
                <a:latin typeface="Porsche Next TT"/>
              </a:rPr>
              <a:t>Collision Warning</a:t>
            </a:r>
            <a:r>
              <a:rPr lang="en-US" kern="0" dirty="0" smtClean="0">
                <a:latin typeface="Porsche Next TT"/>
              </a:rPr>
              <a:t>)</a:t>
            </a:r>
            <a:endParaRPr lang="en-US" kern="0" dirty="0">
              <a:latin typeface="Porsche Next TT"/>
            </a:endParaRPr>
          </a:p>
        </p:txBody>
      </p:sp>
      <p:sp>
        <p:nvSpPr>
          <p:cNvPr id="9" name="Oval 8"/>
          <p:cNvSpPr/>
          <p:nvPr/>
        </p:nvSpPr>
        <p:spPr>
          <a:xfrm>
            <a:off x="3307878" y="880653"/>
            <a:ext cx="180923" cy="19343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Rectangle 9"/>
          <p:cNvSpPr/>
          <p:nvPr/>
        </p:nvSpPr>
        <p:spPr>
          <a:xfrm>
            <a:off x="2401455" y="4285672"/>
            <a:ext cx="406400" cy="11914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Rectangle 10"/>
          <p:cNvSpPr/>
          <p:nvPr/>
        </p:nvSpPr>
        <p:spPr>
          <a:xfrm>
            <a:off x="2401116" y="5733531"/>
            <a:ext cx="406400" cy="66963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13"/>
          <p:cNvSpPr/>
          <p:nvPr/>
        </p:nvSpPr>
        <p:spPr>
          <a:xfrm>
            <a:off x="3195140" y="5914020"/>
            <a:ext cx="406400" cy="6719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753830" y="4662330"/>
            <a:ext cx="13390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First vehicle</a:t>
            </a:r>
          </a:p>
        </p:txBody>
      </p:sp>
      <p:sp>
        <p:nvSpPr>
          <p:cNvPr id="16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4060227" y="6148919"/>
            <a:ext cx="1650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econd vehicle</a:t>
            </a:r>
          </a:p>
        </p:txBody>
      </p:sp>
      <p:sp>
        <p:nvSpPr>
          <p:cNvPr id="17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4684684" y="2039890"/>
            <a:ext cx="6862619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ctors: Ego vehicle + 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emote 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vehicle (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First 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vehicle, 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econd 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vehicle)</a:t>
            </a:r>
          </a:p>
          <a:p>
            <a:pPr>
              <a:defRPr/>
            </a:pP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ap: </a:t>
            </a:r>
            <a:r>
              <a:rPr lang="en-US" altLang="zh-CN" sz="160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ripLake</a:t>
            </a: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endParaRPr lang="en-US" altLang="zh-CN" sz="1600" dirty="0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eather: Foggy</a:t>
            </a:r>
          </a:p>
          <a:p>
            <a:pPr>
              <a:defRPr/>
            </a:pP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Tool: Scenario Runner</a:t>
            </a:r>
          </a:p>
          <a:p>
            <a:pPr>
              <a:defRPr/>
            </a:pPr>
            <a:endParaRPr lang="en-US" altLang="zh-CN" sz="16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ensors: millimeter 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ave radar 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+ front </a:t>
            </a:r>
            <a:r>
              <a:rPr lang="en-US" altLang="zh-CN" sz="1600" dirty="0" err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gb</a:t>
            </a: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camera</a:t>
            </a:r>
          </a:p>
          <a:p>
            <a:pPr>
              <a:defRPr/>
            </a:pP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2182401" y="857067"/>
            <a:ext cx="13898" cy="55252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3008421" y="857067"/>
            <a:ext cx="13898" cy="55252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792798" y="880653"/>
            <a:ext cx="40975" cy="553899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491835" y="1797451"/>
            <a:ext cx="13103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altLang="zh-CN" sz="1600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rake poin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407227" y="1753756"/>
            <a:ext cx="406400" cy="1191490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Rectangle 22"/>
          <p:cNvSpPr/>
          <p:nvPr/>
        </p:nvSpPr>
        <p:spPr>
          <a:xfrm>
            <a:off x="2407227" y="3365501"/>
            <a:ext cx="406400" cy="669636"/>
          </a:xfrm>
          <a:prstGeom prst="rect">
            <a:avLst/>
          </a:prstGeom>
          <a:noFill/>
          <a:ln>
            <a:solidFill>
              <a:srgbClr val="FFC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4" name="Curved Connector 23"/>
          <p:cNvCxnSpPr/>
          <p:nvPr/>
        </p:nvCxnSpPr>
        <p:spPr>
          <a:xfrm flipV="1">
            <a:off x="2648203" y="2648917"/>
            <a:ext cx="720436" cy="703119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3213577" y="3699164"/>
            <a:ext cx="406400" cy="671945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6" name="Graphic 4">
            <a:extLst>
              <a:ext uri="{FF2B5EF4-FFF2-40B4-BE49-F238E27FC236}">
                <a16:creationId xmlns:a16="http://schemas.microsoft.com/office/drawing/2014/main" id="{D15C5CB5-CF7E-498C-A7CC-D2323487C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 rot="18453768">
            <a:off x="3279300" y="3328492"/>
            <a:ext cx="741343" cy="741343"/>
          </a:xfrm>
          <a:prstGeom prst="rect">
            <a:avLst/>
          </a:prstGeom>
        </p:spPr>
      </p:pic>
      <p:pic>
        <p:nvPicPr>
          <p:cNvPr id="27" name="Graphic 4">
            <a:extLst>
              <a:ext uri="{FF2B5EF4-FFF2-40B4-BE49-F238E27FC236}">
                <a16:creationId xmlns:a16="http://schemas.microsoft.com/office/drawing/2014/main" id="{D15C5CB5-CF7E-498C-A7CC-D2323487C7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 rot="18453768">
            <a:off x="2559891" y="849820"/>
            <a:ext cx="741343" cy="741343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3195140" y="1016072"/>
            <a:ext cx="406400" cy="671945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9" name="Straight Arrow Connector 28"/>
          <p:cNvCxnSpPr>
            <a:stCxn id="21" idx="3"/>
            <a:endCxn id="9" idx="3"/>
          </p:cNvCxnSpPr>
          <p:nvPr/>
        </p:nvCxnSpPr>
        <p:spPr>
          <a:xfrm flipV="1">
            <a:off x="1802194" y="1045760"/>
            <a:ext cx="1532180" cy="9209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文本框 10">
            <a:extLst>
              <a:ext uri="{FF2B5EF4-FFF2-40B4-BE49-F238E27FC236}">
                <a16:creationId xmlns:a16="http://schemas.microsoft.com/office/drawing/2014/main" id="{DDD4C2DB-5870-4282-986B-012E684CFB97}"/>
              </a:ext>
            </a:extLst>
          </p:cNvPr>
          <p:cNvSpPr txBox="1"/>
          <p:nvPr/>
        </p:nvSpPr>
        <p:spPr>
          <a:xfrm>
            <a:off x="2339690" y="6046360"/>
            <a:ext cx="633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o</a:t>
            </a:r>
          </a:p>
        </p:txBody>
      </p:sp>
      <p:cxnSp>
        <p:nvCxnSpPr>
          <p:cNvPr id="31" name="Straight Connector 30"/>
          <p:cNvCxnSpPr/>
          <p:nvPr/>
        </p:nvCxnSpPr>
        <p:spPr>
          <a:xfrm flipH="1" flipV="1">
            <a:off x="3615438" y="6174714"/>
            <a:ext cx="508678" cy="150555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1973412" y="4543182"/>
            <a:ext cx="437351" cy="197607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548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8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342900" y="552450"/>
            <a:ext cx="11506200" cy="431800"/>
          </a:xfrm>
          <a:prstGeom prst="rect">
            <a:avLst/>
          </a:prstGeom>
        </p:spPr>
        <p:txBody>
          <a:bodyPr lIns="0" tIns="1651" rIns="0" bIns="1651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 baseline="0">
                <a:solidFill>
                  <a:schemeClr val="accent1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5pPr>
            <a:lvl6pPr marL="54802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6pPr>
            <a:lvl7pPr marL="1096042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7pPr>
            <a:lvl8pPr marL="1644064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8pPr>
            <a:lvl9pPr marL="2192086" algn="l" rtl="0" eaLnBrk="1" fontAlgn="base" hangingPunct="1">
              <a:spcBef>
                <a:spcPct val="0"/>
              </a:spcBef>
              <a:spcAft>
                <a:spcPct val="0"/>
              </a:spcAft>
              <a:defRPr sz="5274">
                <a:solidFill>
                  <a:schemeClr val="tx1"/>
                </a:solidFill>
                <a:latin typeface="Porsche Franklin Gothic Condens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rPr>
              <a:t>ScenarioRunner</a:t>
            </a:r>
            <a:r>
              <a:rPr kumimoji="0" lang="en-US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C7C9E"/>
                </a:solidFill>
                <a:effectLst/>
                <a:uLnTx/>
                <a:uFillTx/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rPr>
              <a:t> – SCW scenario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14" name="Subtitle 3"/>
          <p:cNvSpPr txBox="1">
            <a:spLocks/>
          </p:cNvSpPr>
          <p:nvPr/>
        </p:nvSpPr>
        <p:spPr>
          <a:xfrm>
            <a:off x="342900" y="1009650"/>
            <a:ext cx="11506200" cy="431800"/>
          </a:xfrm>
          <a:prstGeom prst="rect">
            <a:avLst/>
          </a:prstGeom>
        </p:spPr>
        <p:txBody>
          <a:bodyPr lIns="0" tIns="1651" rIns="0" bIns="1651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b="0" kern="1200" baseline="0">
                <a:solidFill>
                  <a:srgbClr val="A9AAAC"/>
                </a:solidFill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defRPr>
            </a:lvl1pPr>
            <a:lvl2pPr marL="548022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3356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2pPr>
            <a:lvl3pPr marL="1096042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77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3pPr>
            <a:lvl4pPr marL="1644064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4pPr>
            <a:lvl5pPr marL="2192086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Porsche Franklin Gothic Condens" pitchFamily="34" charset="0"/>
                <a:ea typeface="+mn-ea"/>
                <a:cs typeface="+mn-cs"/>
              </a:defRPr>
            </a:lvl5pPr>
            <a:lvl6pPr marL="2740106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88128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836149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384170" indent="0" algn="ctr" defTabSz="1096042" rtl="0" eaLnBrk="1" latinLnBrk="0" hangingPunct="1">
              <a:spcBef>
                <a:spcPct val="20000"/>
              </a:spcBef>
              <a:buFont typeface="Arial" pitchFamily="34" charset="0"/>
              <a:buNone/>
              <a:defRPr sz="239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S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rPr>
              <a:t>CW scenario created using </a:t>
            </a:r>
            <a:r>
              <a:rPr kumimoji="0" lang="en-US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rPr>
              <a:t>pyTrees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9AAAC"/>
                </a:solidFill>
                <a:effectLst/>
                <a:uLnTx/>
                <a:uFillTx/>
                <a:latin typeface="Porsche Next TT" panose="020B0504020101010102" pitchFamily="34" charset="0"/>
                <a:ea typeface="+mn-ea"/>
                <a:cs typeface="Porsche Next TT" panose="020B0504020101010102" pitchFamily="34" charset="0"/>
              </a:rPr>
              <a:t>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A9AAAC"/>
              </a:solidFill>
              <a:effectLst/>
              <a:uLnTx/>
              <a:uFillTx/>
              <a:latin typeface="Porsche Next TT" panose="020B0504020101010102" pitchFamily="34" charset="0"/>
              <a:ea typeface="+mn-ea"/>
              <a:cs typeface="Porsche Next TT" panose="020B0504020101010102" pitchFamily="34" charset="0"/>
            </a:endParaRP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687945895"/>
              </p:ext>
            </p:extLst>
          </p:nvPr>
        </p:nvGraphicFramePr>
        <p:xfrm>
          <a:off x="192300" y="543433"/>
          <a:ext cx="11820525" cy="5934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Rectangle 3"/>
          <p:cNvSpPr/>
          <p:nvPr/>
        </p:nvSpPr>
        <p:spPr>
          <a:xfrm>
            <a:off x="1838036" y="5514109"/>
            <a:ext cx="2216728" cy="892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324224" y="3295649"/>
            <a:ext cx="180975" cy="1371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24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5968" y="445134"/>
            <a:ext cx="12204700" cy="25400"/>
          </a:xfrm>
          <a:custGeom>
            <a:avLst/>
            <a:gdLst>
              <a:gd name="connsiteX0" fmla="*/ 6349 w 12204700"/>
              <a:gd name="connsiteY0" fmla="*/ 6350 h 25400"/>
              <a:gd name="connsiteX1" fmla="*/ 12198350 w 12204700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2204700" h="25400">
                <a:moveTo>
                  <a:pt x="6350" y="6350"/>
                </a:moveTo>
                <a:lnTo>
                  <a:pt x="121983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" name="Freeform 3"/>
          <p:cNvSpPr/>
          <p:nvPr/>
        </p:nvSpPr>
        <p:spPr>
          <a:xfrm>
            <a:off x="-5968" y="6406260"/>
            <a:ext cx="10985500" cy="13385"/>
          </a:xfrm>
          <a:custGeom>
            <a:avLst/>
            <a:gdLst>
              <a:gd name="connsiteX0" fmla="*/ 6349 w 10985500"/>
              <a:gd name="connsiteY0" fmla="*/ 7036 h 13385"/>
              <a:gd name="connsiteX1" fmla="*/ 10979150 w 10985500"/>
              <a:gd name="connsiteY1" fmla="*/ 6350 h 133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0985500" h="13385">
                <a:moveTo>
                  <a:pt x="6350" y="7036"/>
                </a:moveTo>
                <a:lnTo>
                  <a:pt x="10979150" y="6350"/>
                </a:lnTo>
              </a:path>
            </a:pathLst>
          </a:custGeom>
          <a:ln w="12700">
            <a:solidFill>
              <a:srgbClr val="E3E3E3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9300" y="127000"/>
            <a:ext cx="3073400" cy="203200"/>
          </a:xfrm>
          <a:prstGeom prst="rect">
            <a:avLst/>
          </a:prstGeom>
          <a:noFill/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13900" y="6451600"/>
            <a:ext cx="2247900" cy="3937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81000" y="6477000"/>
            <a:ext cx="705321" cy="41806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20</a:t>
            </a: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.09.2022</a:t>
            </a: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-9-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77955" y="6489700"/>
            <a:ext cx="649217" cy="45653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lang="en-US" altLang="zh-CN" sz="1097" dirty="0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ADAS-</a:t>
            </a:r>
            <a:r>
              <a:rPr lang="en-US" altLang="zh-CN" sz="1097" dirty="0" err="1" smtClean="0">
                <a:solidFill>
                  <a:srgbClr val="7E7F82"/>
                </a:solidFill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HiL</a:t>
            </a:r>
            <a:endParaRPr lang="en-US" altLang="zh-CN" sz="1097" dirty="0" smtClean="0">
              <a:solidFill>
                <a:srgbClr val="7E7F82"/>
              </a:solidFill>
              <a:latin typeface="MS Shell Dlg" pitchFamily="18" charset="0"/>
              <a:ea typeface="宋体" panose="02010600030101010101" pitchFamily="2" charset="-122"/>
              <a:cs typeface="MS Shell Dlg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1000" algn="l"/>
              </a:tabLst>
              <a:defRPr/>
            </a:pPr>
            <a:r>
              <a:rPr kumimoji="0" lang="en-US" altLang="zh-CN" sz="1097" b="0" i="0" u="none" strike="noStrike" kern="1200" cap="none" spc="0" normalizeH="0" baseline="0" noProof="0" dirty="0" smtClean="0">
                <a:ln>
                  <a:noFill/>
                </a:ln>
                <a:solidFill>
                  <a:srgbClr val="7E7F82"/>
                </a:solidFill>
                <a:effectLst/>
                <a:uLnTx/>
                <a:uFillTx/>
                <a:latin typeface="MS Shell Dlg" pitchFamily="18" charset="0"/>
                <a:ea typeface="宋体" panose="02010600030101010101" pitchFamily="2" charset="-122"/>
                <a:cs typeface="MS Shell Dlg" pitchFamily="18" charset="0"/>
              </a:rPr>
              <a:t>PECN-EE</a:t>
            </a:r>
          </a:p>
        </p:txBody>
      </p:sp>
      <p:sp>
        <p:nvSpPr>
          <p:cNvPr id="17" name="Titel 2"/>
          <p:cNvSpPr txBox="1">
            <a:spLocks/>
          </p:cNvSpPr>
          <p:nvPr/>
        </p:nvSpPr>
        <p:spPr bwMode="gray">
          <a:xfrm>
            <a:off x="342900" y="552450"/>
            <a:ext cx="11506200" cy="400110"/>
          </a:xfrm>
          <a:prstGeom prst="rect">
            <a:avLst/>
          </a:prstGeom>
        </p:spPr>
        <p:txBody>
          <a:bodyPr lIns="0" tIns="1651" rIns="0" bIns="1651" anchor="t">
            <a:noAutofit/>
          </a:bodyPr>
          <a:lstStyle>
            <a:lvl1pPr eaLnBrk="1" hangingPunct="1">
              <a:defRPr sz="2600" b="1">
                <a:solidFill>
                  <a:srgbClr val="4C7C9E"/>
                </a:solidFill>
                <a:latin typeface="Porsche Next TT" panose="020B0504020101010102" pitchFamily="34" charset="0"/>
                <a:ea typeface="+mj-ea"/>
                <a:cs typeface="Porsche Next TT" panose="020B0504020101010102" pitchFamily="34" charset="0"/>
              </a:defRPr>
            </a:lvl1pPr>
            <a:lvl2pPr eaLnBrk="1" hangingPunct="1">
              <a:defRPr sz="5274"/>
            </a:lvl2pPr>
            <a:lvl3pPr eaLnBrk="1" hangingPunct="1">
              <a:defRPr sz="5274"/>
            </a:lvl3pPr>
            <a:lvl4pPr eaLnBrk="1" hangingPunct="1">
              <a:defRPr sz="5274"/>
            </a:lvl4pPr>
            <a:lvl5pPr eaLnBrk="1" hangingPunct="1">
              <a:defRPr sz="5274"/>
            </a:lvl5pPr>
            <a:lvl6pPr marL="548022" fontAlgn="base">
              <a:spcBef>
                <a:spcPct val="0"/>
              </a:spcBef>
              <a:spcAft>
                <a:spcPct val="0"/>
              </a:spcAft>
              <a:defRPr sz="5274"/>
            </a:lvl6pPr>
            <a:lvl7pPr marL="1096042" fontAlgn="base">
              <a:spcBef>
                <a:spcPct val="0"/>
              </a:spcBef>
              <a:spcAft>
                <a:spcPct val="0"/>
              </a:spcAft>
              <a:defRPr sz="5274"/>
            </a:lvl7pPr>
            <a:lvl8pPr marL="1644064" fontAlgn="base">
              <a:spcBef>
                <a:spcPct val="0"/>
              </a:spcBef>
              <a:spcAft>
                <a:spcPct val="0"/>
              </a:spcAft>
              <a:defRPr sz="5274"/>
            </a:lvl8pPr>
            <a:lvl9pPr marL="2192086" fontAlgn="base">
              <a:spcBef>
                <a:spcPct val="0"/>
              </a:spcBef>
              <a:spcAft>
                <a:spcPct val="0"/>
              </a:spcAft>
              <a:defRPr sz="5274"/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>
                <a:latin typeface="Porsche Next TT"/>
              </a:rPr>
              <a:t>Jupiter </a:t>
            </a:r>
            <a:r>
              <a:rPr lang="en-US" kern="0" dirty="0" smtClean="0">
                <a:latin typeface="Porsche Next TT"/>
              </a:rPr>
              <a:t>Twins 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4C7C9E"/>
              </a:solidFill>
              <a:effectLst/>
              <a:uLnTx/>
              <a:uFillTx/>
              <a:latin typeface="Porsche Next TT" panose="020B0504020101010102" pitchFamily="34" charset="0"/>
              <a:ea typeface="+mj-ea"/>
              <a:cs typeface="Porsche Next TT" panose="020B0504020101010102" pitchFamily="34" charset="0"/>
            </a:endParaRPr>
          </a:p>
        </p:txBody>
      </p:sp>
      <p:sp>
        <p:nvSpPr>
          <p:cNvPr id="47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653315" y="979553"/>
            <a:ext cx="4729018" cy="9130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3306438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1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49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834999" y="5364642"/>
            <a:ext cx="108385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OBU 2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0" name="矩形: 圆角 3">
            <a:extLst>
              <a:ext uri="{FF2B5EF4-FFF2-40B4-BE49-F238E27FC236}">
                <a16:creationId xmlns:a16="http://schemas.microsoft.com/office/drawing/2014/main" id="{D6648072-F71C-38FF-341B-818D406704D5}"/>
              </a:ext>
            </a:extLst>
          </p:cNvPr>
          <p:cNvSpPr/>
          <p:nvPr/>
        </p:nvSpPr>
        <p:spPr>
          <a:xfrm>
            <a:off x="1000375" y="868249"/>
            <a:ext cx="10397302" cy="131000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1" name="文本框 4">
            <a:extLst>
              <a:ext uri="{FF2B5EF4-FFF2-40B4-BE49-F238E27FC236}">
                <a16:creationId xmlns:a16="http://schemas.microsoft.com/office/drawing/2014/main" id="{14B70F7B-11EA-F988-3C81-C0D5DD65A355}"/>
              </a:ext>
            </a:extLst>
          </p:cNvPr>
          <p:cNvSpPr txBox="1"/>
          <p:nvPr/>
        </p:nvSpPr>
        <p:spPr>
          <a:xfrm>
            <a:off x="5676138" y="1879054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PevaTec Carla</a:t>
            </a:r>
          </a:p>
        </p:txBody>
      </p:sp>
      <p:sp>
        <p:nvSpPr>
          <p:cNvPr id="52" name="矩形: 圆角 5">
            <a:extLst>
              <a:ext uri="{FF2B5EF4-FFF2-40B4-BE49-F238E27FC236}">
                <a16:creationId xmlns:a16="http://schemas.microsoft.com/office/drawing/2014/main" id="{ADD79E82-E782-1141-0329-5D148F19180B}"/>
              </a:ext>
            </a:extLst>
          </p:cNvPr>
          <p:cNvSpPr/>
          <p:nvPr/>
        </p:nvSpPr>
        <p:spPr>
          <a:xfrm>
            <a:off x="1843672" y="1139568"/>
            <a:ext cx="1781403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H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Host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53" name="矩形: 圆角 6">
            <a:extLst>
              <a:ext uri="{FF2B5EF4-FFF2-40B4-BE49-F238E27FC236}">
                <a16:creationId xmlns:a16="http://schemas.microsoft.com/office/drawing/2014/main" id="{1C75A3FF-3375-765A-7BBC-247541D74999}"/>
              </a:ext>
            </a:extLst>
          </p:cNvPr>
          <p:cNvSpPr/>
          <p:nvPr/>
        </p:nvSpPr>
        <p:spPr>
          <a:xfrm>
            <a:off x="4385601" y="1139568"/>
            <a:ext cx="1781404" cy="55151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RV</a:t>
            </a:r>
          </a:p>
          <a:p>
            <a:pPr algn="ctr"/>
            <a:r>
              <a:rPr lang="en-US" altLang="zh-CN" dirty="0">
                <a:solidFill>
                  <a:schemeClr val="tx1"/>
                </a:solidFill>
              </a:rPr>
              <a:t>(Remote Vehicle)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54" name="直接箭头连接符 8">
            <a:extLst>
              <a:ext uri="{FF2B5EF4-FFF2-40B4-BE49-F238E27FC236}">
                <a16:creationId xmlns:a16="http://schemas.microsoft.com/office/drawing/2014/main" id="{AC17084F-492A-BC85-B8CD-6CAC8D6956C1}"/>
              </a:ext>
            </a:extLst>
          </p:cNvPr>
          <p:cNvCxnSpPr/>
          <p:nvPr/>
        </p:nvCxnSpPr>
        <p:spPr>
          <a:xfrm>
            <a:off x="2199144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箭头连接符 9">
            <a:extLst>
              <a:ext uri="{FF2B5EF4-FFF2-40B4-BE49-F238E27FC236}">
                <a16:creationId xmlns:a16="http://schemas.microsoft.com/office/drawing/2014/main" id="{62AE2116-A874-F190-AA2C-C84616435C25}"/>
              </a:ext>
            </a:extLst>
          </p:cNvPr>
          <p:cNvCxnSpPr/>
          <p:nvPr/>
        </p:nvCxnSpPr>
        <p:spPr>
          <a:xfrm>
            <a:off x="5769447" y="1680231"/>
            <a:ext cx="0" cy="1632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文本框 79">
            <a:extLst>
              <a:ext uri="{FF2B5EF4-FFF2-40B4-BE49-F238E27FC236}">
                <a16:creationId xmlns:a16="http://schemas.microsoft.com/office/drawing/2014/main" id="{0569FEC1-B86F-32BA-7DFC-43E95CD0BFCB}"/>
              </a:ext>
            </a:extLst>
          </p:cNvPr>
          <p:cNvSpPr txBox="1"/>
          <p:nvPr/>
        </p:nvSpPr>
        <p:spPr>
          <a:xfrm>
            <a:off x="2608194" y="2494993"/>
            <a:ext cx="30657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Carla-ROS-Bridge / Carla API</a:t>
            </a:r>
            <a:endParaRPr lang="en-US" altLang="zh-CN" dirty="0"/>
          </a:p>
        </p:txBody>
      </p:sp>
      <p:sp>
        <p:nvSpPr>
          <p:cNvPr id="57" name="矩形 14">
            <a:extLst>
              <a:ext uri="{FF2B5EF4-FFF2-40B4-BE49-F238E27FC236}">
                <a16:creationId xmlns:a16="http://schemas.microsoft.com/office/drawing/2014/main" id="{1F8FF050-09CA-775A-00CF-AC402A0992BF}"/>
              </a:ext>
            </a:extLst>
          </p:cNvPr>
          <p:cNvSpPr/>
          <p:nvPr/>
        </p:nvSpPr>
        <p:spPr>
          <a:xfrm>
            <a:off x="1843672" y="2464520"/>
            <a:ext cx="4323333" cy="449719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1000376" y="2339616"/>
            <a:ext cx="6077581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矩形: 圆角 16">
            <a:extLst>
              <a:ext uri="{FF2B5EF4-FFF2-40B4-BE49-F238E27FC236}">
                <a16:creationId xmlns:a16="http://schemas.microsoft.com/office/drawing/2014/main" id="{B9204781-C2CD-82C6-D959-716F5DCE8BB0}"/>
              </a:ext>
            </a:extLst>
          </p:cNvPr>
          <p:cNvSpPr/>
          <p:nvPr/>
        </p:nvSpPr>
        <p:spPr>
          <a:xfrm>
            <a:off x="1742507" y="3311954"/>
            <a:ext cx="4481183" cy="559293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Jupiter </a:t>
            </a:r>
            <a:r>
              <a:rPr lang="en-US" altLang="zh-CN" dirty="0" smtClean="0">
                <a:solidFill>
                  <a:schemeClr val="tx1"/>
                </a:solidFill>
              </a:rPr>
              <a:t>Twins Node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0" name="矩形: 圆角 17">
            <a:extLst>
              <a:ext uri="{FF2B5EF4-FFF2-40B4-BE49-F238E27FC236}">
                <a16:creationId xmlns:a16="http://schemas.microsoft.com/office/drawing/2014/main" id="{99284322-0806-6CC9-9B63-BF844E7F54F0}"/>
              </a:ext>
            </a:extLst>
          </p:cNvPr>
          <p:cNvSpPr/>
          <p:nvPr/>
        </p:nvSpPr>
        <p:spPr>
          <a:xfrm>
            <a:off x="2008997" y="5381124"/>
            <a:ext cx="2699569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Safety Function Node</a:t>
            </a:r>
          </a:p>
        </p:txBody>
      </p:sp>
      <p:cxnSp>
        <p:nvCxnSpPr>
          <p:cNvPr id="61" name="直接箭头连接符 10">
            <a:extLst>
              <a:ext uri="{FF2B5EF4-FFF2-40B4-BE49-F238E27FC236}">
                <a16:creationId xmlns:a16="http://schemas.microsoft.com/office/drawing/2014/main" id="{3E539011-3626-5CAA-4A3C-59BECA876184}"/>
              </a:ext>
            </a:extLst>
          </p:cNvPr>
          <p:cNvCxnSpPr>
            <a:cxnSpLocks/>
          </p:cNvCxnSpPr>
          <p:nvPr/>
        </p:nvCxnSpPr>
        <p:spPr>
          <a:xfrm flipV="1">
            <a:off x="3198446" y="1680231"/>
            <a:ext cx="0" cy="37008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箭头连接符 22">
            <a:extLst>
              <a:ext uri="{FF2B5EF4-FFF2-40B4-BE49-F238E27FC236}">
                <a16:creationId xmlns:a16="http://schemas.microsoft.com/office/drawing/2014/main" id="{74D195F7-E52B-07C9-D07E-DD2B1D91453C}"/>
              </a:ext>
            </a:extLst>
          </p:cNvPr>
          <p:cNvCxnSpPr/>
          <p:nvPr/>
        </p:nvCxnSpPr>
        <p:spPr>
          <a:xfrm>
            <a:off x="2199144" y="3871247"/>
            <a:ext cx="0" cy="15098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1528347" y="4093888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HV_Msg</a:t>
            </a:r>
            <a:endParaRPr lang="zh-CN" altLang="en-US" dirty="0"/>
          </a:p>
        </p:txBody>
      </p:sp>
      <p:sp>
        <p:nvSpPr>
          <p:cNvPr id="64" name="文本框 24">
            <a:extLst>
              <a:ext uri="{FF2B5EF4-FFF2-40B4-BE49-F238E27FC236}">
                <a16:creationId xmlns:a16="http://schemas.microsoft.com/office/drawing/2014/main" id="{1D4B74F3-739F-704D-1E93-884107093928}"/>
              </a:ext>
            </a:extLst>
          </p:cNvPr>
          <p:cNvSpPr txBox="1"/>
          <p:nvPr/>
        </p:nvSpPr>
        <p:spPr>
          <a:xfrm rot="16200000">
            <a:off x="6067795" y="477229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V2X_Msg</a:t>
            </a:r>
            <a:endParaRPr lang="zh-CN" altLang="en-US" dirty="0"/>
          </a:p>
        </p:txBody>
      </p:sp>
      <p:sp>
        <p:nvSpPr>
          <p:cNvPr id="65" name="文本框 25">
            <a:extLst>
              <a:ext uri="{FF2B5EF4-FFF2-40B4-BE49-F238E27FC236}">
                <a16:creationId xmlns:a16="http://schemas.microsoft.com/office/drawing/2014/main" id="{DFB239A5-514E-6AF1-34E9-549EC832D90F}"/>
              </a:ext>
            </a:extLst>
          </p:cNvPr>
          <p:cNvSpPr txBox="1"/>
          <p:nvPr/>
        </p:nvSpPr>
        <p:spPr>
          <a:xfrm rot="16200000">
            <a:off x="6025157" y="3618859"/>
            <a:ext cx="461665" cy="908019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RV_Msg</a:t>
            </a:r>
            <a:endParaRPr lang="zh-CN" altLang="en-US" dirty="0"/>
          </a:p>
        </p:txBody>
      </p:sp>
      <p:cxnSp>
        <p:nvCxnSpPr>
          <p:cNvPr id="66" name="直接箭头连接符 26">
            <a:extLst>
              <a:ext uri="{FF2B5EF4-FFF2-40B4-BE49-F238E27FC236}">
                <a16:creationId xmlns:a16="http://schemas.microsoft.com/office/drawing/2014/main" id="{E5CCD08E-DC1D-C04F-AB47-D110D734B5C5}"/>
              </a:ext>
            </a:extLst>
          </p:cNvPr>
          <p:cNvCxnSpPr>
            <a:cxnSpLocks/>
          </p:cNvCxnSpPr>
          <p:nvPr/>
        </p:nvCxnSpPr>
        <p:spPr>
          <a:xfrm>
            <a:off x="5769447" y="3865731"/>
            <a:ext cx="0" cy="481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矩形: 圆角 34">
            <a:extLst>
              <a:ext uri="{FF2B5EF4-FFF2-40B4-BE49-F238E27FC236}">
                <a16:creationId xmlns:a16="http://schemas.microsoft.com/office/drawing/2014/main" id="{C3AE624C-25E1-38E0-93E4-341D4E72A568}"/>
              </a:ext>
            </a:extLst>
          </p:cNvPr>
          <p:cNvSpPr/>
          <p:nvPr/>
        </p:nvSpPr>
        <p:spPr>
          <a:xfrm>
            <a:off x="4722264" y="4354664"/>
            <a:ext cx="2251133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tx1"/>
                </a:solidFill>
              </a:rPr>
              <a:t>V2X ROS </a:t>
            </a:r>
            <a:r>
              <a:rPr lang="en-US" altLang="zh-CN" dirty="0" smtClean="0">
                <a:solidFill>
                  <a:schemeClr val="tx1"/>
                </a:solidFill>
              </a:rPr>
              <a:t>Driver Node</a:t>
            </a:r>
            <a:endParaRPr lang="en-US" altLang="zh-CN" dirty="0">
              <a:solidFill>
                <a:schemeClr val="tx1"/>
              </a:solidFill>
            </a:endParaRPr>
          </a:p>
        </p:txBody>
      </p:sp>
      <p:cxnSp>
        <p:nvCxnSpPr>
          <p:cNvPr id="68" name="直接箭头连接符 41">
            <a:extLst>
              <a:ext uri="{FF2B5EF4-FFF2-40B4-BE49-F238E27FC236}">
                <a16:creationId xmlns:a16="http://schemas.microsoft.com/office/drawing/2014/main" id="{0CD69044-95AD-2A80-7D88-B41422C825F3}"/>
              </a:ext>
            </a:extLst>
          </p:cNvPr>
          <p:cNvCxnSpPr>
            <a:stCxn id="48" idx="2"/>
            <a:endCxn id="49" idx="0"/>
          </p:cNvCxnSpPr>
          <p:nvPr/>
        </p:nvCxnSpPr>
        <p:spPr>
          <a:xfrm>
            <a:off x="10376925" y="3865731"/>
            <a:ext cx="0" cy="1498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连接符: 肘形 58">
            <a:extLst>
              <a:ext uri="{FF2B5EF4-FFF2-40B4-BE49-F238E27FC236}">
                <a16:creationId xmlns:a16="http://schemas.microsoft.com/office/drawing/2014/main" id="{9B54D8A8-FB70-D7F0-BA35-27A59AD5BD04}"/>
              </a:ext>
            </a:extLst>
          </p:cNvPr>
          <p:cNvCxnSpPr>
            <a:endCxn id="60" idx="3"/>
          </p:cNvCxnSpPr>
          <p:nvPr/>
        </p:nvCxnSpPr>
        <p:spPr>
          <a:xfrm rot="10800000" flipV="1">
            <a:off x="4708566" y="4915933"/>
            <a:ext cx="1093414" cy="744837"/>
          </a:xfrm>
          <a:prstGeom prst="bentConnector3">
            <a:avLst>
              <a:gd name="adj1" fmla="val 354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连接符: 肘形 60">
            <a:extLst>
              <a:ext uri="{FF2B5EF4-FFF2-40B4-BE49-F238E27FC236}">
                <a16:creationId xmlns:a16="http://schemas.microsoft.com/office/drawing/2014/main" id="{F2C7414F-F734-CEB5-1BC7-656AF04A8A70}"/>
              </a:ext>
            </a:extLst>
          </p:cNvPr>
          <p:cNvCxnSpPr>
            <a:cxnSpLocks/>
            <a:endCxn id="48" idx="1"/>
          </p:cNvCxnSpPr>
          <p:nvPr/>
        </p:nvCxnSpPr>
        <p:spPr>
          <a:xfrm flipV="1">
            <a:off x="6920933" y="3586085"/>
            <a:ext cx="2914066" cy="773303"/>
          </a:xfrm>
          <a:prstGeom prst="bentConnector3">
            <a:avLst>
              <a:gd name="adj1" fmla="val 23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连接符: 肘形 64">
            <a:extLst>
              <a:ext uri="{FF2B5EF4-FFF2-40B4-BE49-F238E27FC236}">
                <a16:creationId xmlns:a16="http://schemas.microsoft.com/office/drawing/2014/main" id="{B953843F-79E4-8845-88AA-2ACC9ABD8861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>
            <a:off x="6920933" y="4909235"/>
            <a:ext cx="2914067" cy="735055"/>
          </a:xfrm>
          <a:prstGeom prst="bentConnector3">
            <a:avLst>
              <a:gd name="adj1" fmla="val 9976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2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10688019" y="3962873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/>
              <a:t>BSM_Msg</a:t>
            </a:r>
            <a:endParaRPr lang="zh-CN" altLang="en-US" dirty="0"/>
          </a:p>
        </p:txBody>
      </p:sp>
      <p:sp>
        <p:nvSpPr>
          <p:cNvPr id="73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3607509" y="6023292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ROS Environment</a:t>
            </a:r>
            <a:endParaRPr lang="en-US" altLang="zh-CN" dirty="0"/>
          </a:p>
        </p:txBody>
      </p:sp>
      <p:sp>
        <p:nvSpPr>
          <p:cNvPr id="74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7787357" y="4354664"/>
            <a:ext cx="2121242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Signal Generator</a:t>
            </a:r>
            <a:endParaRPr lang="zh-CN" altLang="en-US" dirty="0">
              <a:solidFill>
                <a:schemeClr val="tx1"/>
              </a:solidFill>
            </a:endParaRPr>
          </a:p>
        </p:txBody>
      </p:sp>
      <p:cxnSp>
        <p:nvCxnSpPr>
          <p:cNvPr id="75" name="Straight Arrow Connector 74"/>
          <p:cNvCxnSpPr>
            <a:stCxn id="74" idx="1"/>
            <a:endCxn id="67" idx="3"/>
          </p:cNvCxnSpPr>
          <p:nvPr/>
        </p:nvCxnSpPr>
        <p:spPr>
          <a:xfrm flipH="1">
            <a:off x="6973397" y="4634311"/>
            <a:ext cx="813960" cy="0"/>
          </a:xfrm>
          <a:prstGeom prst="straightConnector1">
            <a:avLst/>
          </a:prstGeom>
          <a:ln>
            <a:prstDash val="dash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矩形: 圆角 58">
            <a:extLst>
              <a:ext uri="{FF2B5EF4-FFF2-40B4-BE49-F238E27FC236}">
                <a16:creationId xmlns:a16="http://schemas.microsoft.com/office/drawing/2014/main" id="{6E1371E7-2736-E2E1-37D3-EB7B31D4275A}"/>
              </a:ext>
            </a:extLst>
          </p:cNvPr>
          <p:cNvSpPr/>
          <p:nvPr/>
        </p:nvSpPr>
        <p:spPr>
          <a:xfrm>
            <a:off x="9105546" y="1156429"/>
            <a:ext cx="1458905" cy="55929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Carla Server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77" name="文本框 23">
            <a:extLst>
              <a:ext uri="{FF2B5EF4-FFF2-40B4-BE49-F238E27FC236}">
                <a16:creationId xmlns:a16="http://schemas.microsoft.com/office/drawing/2014/main" id="{BAB7D64D-EAEA-3639-4986-3E9B62D762CF}"/>
              </a:ext>
            </a:extLst>
          </p:cNvPr>
          <p:cNvSpPr txBox="1"/>
          <p:nvPr/>
        </p:nvSpPr>
        <p:spPr>
          <a:xfrm rot="16200000">
            <a:off x="3936168" y="1196428"/>
            <a:ext cx="461665" cy="115062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Scenario</a:t>
            </a:r>
            <a:endParaRPr lang="zh-CN" altLang="en-US" dirty="0"/>
          </a:p>
        </p:txBody>
      </p:sp>
      <p:cxnSp>
        <p:nvCxnSpPr>
          <p:cNvPr id="78" name="Straight Arrow Connector 77"/>
          <p:cNvCxnSpPr>
            <a:stCxn id="47" idx="3"/>
            <a:endCxn id="76" idx="1"/>
          </p:cNvCxnSpPr>
          <p:nvPr/>
        </p:nvCxnSpPr>
        <p:spPr>
          <a:xfrm>
            <a:off x="6382333" y="1436076"/>
            <a:ext cx="272321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文本框 69">
            <a:extLst>
              <a:ext uri="{FF2B5EF4-FFF2-40B4-BE49-F238E27FC236}">
                <a16:creationId xmlns:a16="http://schemas.microsoft.com/office/drawing/2014/main" id="{C393318E-4BA8-B88A-E052-D6647E81F700}"/>
              </a:ext>
            </a:extLst>
          </p:cNvPr>
          <p:cNvSpPr txBox="1"/>
          <p:nvPr/>
        </p:nvSpPr>
        <p:spPr>
          <a:xfrm rot="16200000">
            <a:off x="7821130" y="1063344"/>
            <a:ext cx="461665" cy="1089042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dirty="0" smtClean="0"/>
              <a:t>TCP/IP</a:t>
            </a:r>
            <a:endParaRPr lang="zh-CN" altLang="en-US" dirty="0"/>
          </a:p>
        </p:txBody>
      </p:sp>
      <p:sp>
        <p:nvSpPr>
          <p:cNvPr id="80" name="矩形: 圆角 15">
            <a:extLst>
              <a:ext uri="{FF2B5EF4-FFF2-40B4-BE49-F238E27FC236}">
                <a16:creationId xmlns:a16="http://schemas.microsoft.com/office/drawing/2014/main" id="{5DEC43FC-9393-DB16-CE9A-078F6F30B115}"/>
              </a:ext>
            </a:extLst>
          </p:cNvPr>
          <p:cNvSpPr/>
          <p:nvPr/>
        </p:nvSpPr>
        <p:spPr>
          <a:xfrm>
            <a:off x="7085322" y="2339616"/>
            <a:ext cx="4312355" cy="40147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框 70">
            <a:extLst>
              <a:ext uri="{FF2B5EF4-FFF2-40B4-BE49-F238E27FC236}">
                <a16:creationId xmlns:a16="http://schemas.microsoft.com/office/drawing/2014/main" id="{7C7B5C59-AC32-14DA-B67F-6DCE7273AA37}"/>
              </a:ext>
            </a:extLst>
          </p:cNvPr>
          <p:cNvSpPr txBox="1"/>
          <p:nvPr/>
        </p:nvSpPr>
        <p:spPr>
          <a:xfrm>
            <a:off x="8807632" y="6010817"/>
            <a:ext cx="21112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 smtClean="0"/>
              <a:t>V2X System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807966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ocuhhelEKvHp4cNI02z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orsche_Engineering_Master">
  <a:themeElements>
    <a:clrScheme name="Benutzerdefiniert 1">
      <a:dk1>
        <a:srgbClr val="000000"/>
      </a:dk1>
      <a:lt1>
        <a:srgbClr val="FFFFFF"/>
      </a:lt1>
      <a:dk2>
        <a:srgbClr val="4C7C9E"/>
      </a:dk2>
      <a:lt2>
        <a:srgbClr val="EAEBEC"/>
      </a:lt2>
      <a:accent1>
        <a:srgbClr val="4C7C9E"/>
      </a:accent1>
      <a:accent2>
        <a:srgbClr val="A9AAAC"/>
      </a:accent2>
      <a:accent3>
        <a:srgbClr val="5AA2AE"/>
      </a:accent3>
      <a:accent4>
        <a:srgbClr val="92D050"/>
      </a:accent4>
      <a:accent5>
        <a:srgbClr val="FFF203"/>
      </a:accent5>
      <a:accent6>
        <a:srgbClr val="DC3030"/>
      </a:accent6>
      <a:hlink>
        <a:srgbClr val="4C7C9E"/>
      </a:hlink>
      <a:folHlink>
        <a:srgbClr val="F46D0B"/>
      </a:folHlink>
    </a:clrScheme>
    <a:fontScheme name="Benutzerdefiniert 1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>
          <a:defRPr sz="2000" dirty="0" smtClean="0">
            <a:latin typeface="Porsche Next TT" panose="020B0504020101010102" pitchFamily="34" charset="0"/>
            <a:cs typeface="Porsche Next TT" panose="020B0504020101010102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8EE0A105-86A0-432D-A8BC-C7641680A267}" vid="{EA1756BF-42F3-4B29-B823-5242A536BA8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70</Words>
  <Application>Microsoft Office PowerPoint</Application>
  <PresentationFormat>Widescreen</PresentationFormat>
  <Paragraphs>862</Paragraphs>
  <Slides>3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50" baseType="lpstr">
      <vt:lpstr>微软雅黑</vt:lpstr>
      <vt:lpstr>宋体</vt:lpstr>
      <vt:lpstr>Arial</vt:lpstr>
      <vt:lpstr>Calibri</vt:lpstr>
      <vt:lpstr>MS Shell Dlg</vt:lpstr>
      <vt:lpstr>Porsche Franklin Gothic Condens</vt:lpstr>
      <vt:lpstr>Porsche News Gothic</vt:lpstr>
      <vt:lpstr>Porsche Next TT</vt:lpstr>
      <vt:lpstr>Symbol</vt:lpstr>
      <vt:lpstr>Times New Roman</vt:lpstr>
      <vt:lpstr>1_Office Theme</vt:lpstr>
      <vt:lpstr>Porsche_Engineering_Master</vt:lpstr>
      <vt:lpstr>Office Theme</vt:lpstr>
      <vt:lpstr>Worksheet</vt:lpstr>
      <vt:lpstr>PowerPoint Presentation</vt:lpstr>
      <vt:lpstr>Jupiter Twins - V2X Integ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Jupiter Platfor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orsche Engineering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o, Xiangyin (PECN-EE)</dc:creator>
  <cp:lastModifiedBy>Yao, Xiangyin (PECN-EE)</cp:lastModifiedBy>
  <cp:revision>53</cp:revision>
  <dcterms:created xsi:type="dcterms:W3CDTF">2022-09-19T06:55:56Z</dcterms:created>
  <dcterms:modified xsi:type="dcterms:W3CDTF">2022-09-20T04:22:11Z</dcterms:modified>
</cp:coreProperties>
</file>